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ldx" ContentType="application/vnd.openxmlformats-officedocument.presentationml.slide"/>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saveSubsetFonts="1">
  <p:sldMasterIdLst>
    <p:sldMasterId id="2147483792" r:id="rId4"/>
    <p:sldMasterId id="2147483800" r:id="rId5"/>
    <p:sldMasterId id="2147483828" r:id="rId6"/>
    <p:sldMasterId id="2147483858" r:id="rId7"/>
    <p:sldMasterId id="2147483861" r:id="rId8"/>
    <p:sldMasterId id="2147483864" r:id="rId9"/>
  </p:sldMasterIdLst>
  <p:notesMasterIdLst>
    <p:notesMasterId r:id="rId25"/>
  </p:notesMasterIdLst>
  <p:sldIdLst>
    <p:sldId id="628" r:id="rId10"/>
    <p:sldId id="5220" r:id="rId11"/>
    <p:sldId id="5204" r:id="rId12"/>
    <p:sldId id="5206" r:id="rId13"/>
    <p:sldId id="1570" r:id="rId14"/>
    <p:sldId id="5205" r:id="rId15"/>
    <p:sldId id="5207" r:id="rId16"/>
    <p:sldId id="5212" r:id="rId17"/>
    <p:sldId id="5199" r:id="rId18"/>
    <p:sldId id="5211" r:id="rId19"/>
    <p:sldId id="5219" r:id="rId20"/>
    <p:sldId id="5213" r:id="rId21"/>
    <p:sldId id="5214" r:id="rId22"/>
    <p:sldId id="5215" r:id="rId23"/>
    <p:sldId id="713" r:id="rId24"/>
  </p:sldIdLst>
  <p:sldSz cx="12192000" cy="6858000"/>
  <p:notesSz cx="6797675" cy="9928225"/>
  <p:embeddedFontLst>
    <p:embeddedFont>
      <p:font typeface="Calibri" panose="020F0502020204030204" pitchFamily="34" charset="0"/>
      <p:regular r:id="rId26"/>
      <p:bold r:id="rId27"/>
      <p:italic r:id="rId28"/>
      <p:boldItalic r:id="rId29"/>
    </p:embeddedFont>
    <p:embeddedFont>
      <p:font typeface="Montserrat" panose="00000500000000000000" pitchFamily="2" charset="0"/>
      <p:regular r:id="rId30"/>
      <p:bold r:id="rId31"/>
      <p:italic r:id="rId32"/>
      <p:boldItalic r:id="rId33"/>
    </p:embeddedFont>
    <p:embeddedFont>
      <p:font typeface="Montserrat Black" panose="00000A00000000000000" pitchFamily="2" charset="0"/>
      <p:bold r:id="rId34"/>
      <p:italic r:id="rId35"/>
      <p:boldItalic r:id="rId36"/>
    </p:embeddedFont>
    <p:embeddedFont>
      <p:font typeface="Montserrat ExtraBold" panose="00000900000000000000" pitchFamily="2" charset="0"/>
      <p:bold r:id="rId37"/>
      <p:italic r:id="rId38"/>
      <p:boldItalic r:id="rId39"/>
    </p:embeddedFont>
    <p:embeddedFont>
      <p:font typeface="Montserrat SemiBold" panose="00000700000000000000" pitchFamily="2" charset="0"/>
      <p:regular r:id="rId40"/>
      <p:bold r:id="rId41"/>
      <p:italic r:id="rId42"/>
      <p:boldItalic r:id="rId43"/>
    </p:embeddedFont>
  </p:embeddedFontLst>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12" userDrawn="1">
          <p15:clr>
            <a:srgbClr val="A4A3A4"/>
          </p15:clr>
        </p15:guide>
        <p15:guide id="2" pos="2457" userDrawn="1">
          <p15:clr>
            <a:srgbClr val="A4A3A4"/>
          </p15:clr>
        </p15:guide>
        <p15:guide id="3" pos="551" userDrawn="1">
          <p15:clr>
            <a:srgbClr val="A4A3A4"/>
          </p15:clr>
        </p15:guide>
        <p15:guide id="4" orient="horz" pos="981" userDrawn="1">
          <p15:clr>
            <a:srgbClr val="A4A3A4"/>
          </p15:clr>
        </p15:guide>
        <p15:guide id="5" orient="horz" pos="3884" userDrawn="1">
          <p15:clr>
            <a:srgbClr val="A4A3A4"/>
          </p15:clr>
        </p15:guide>
        <p15:guide id="6" orient="horz" pos="206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Visiteur" initials="V" lastIdx="8" clrIdx="6">
    <p:extLst>
      <p:ext uri="{19B8F6BF-5375-455C-9EA6-DF929625EA0E}">
        <p15:presenceInfo xmlns:p15="http://schemas.microsoft.com/office/powerpoint/2012/main" userId="Visiteur" providerId="None"/>
      </p:ext>
    </p:extLst>
  </p:cmAuthor>
  <p:cmAuthor id="1" name="COURTOT, MARION" initials="CM" lastIdx="41" clrIdx="0"/>
  <p:cmAuthor id="8" name="titoulola" initials="t" lastIdx="1" clrIdx="7">
    <p:extLst>
      <p:ext uri="{19B8F6BF-5375-455C-9EA6-DF929625EA0E}">
        <p15:presenceInfo xmlns:p15="http://schemas.microsoft.com/office/powerpoint/2012/main" userId="titoulola" providerId="None"/>
      </p:ext>
    </p:extLst>
  </p:cmAuthor>
  <p:cmAuthor id="2" name="infographiste" initials="i" lastIdx="3" clrIdx="1">
    <p:extLst>
      <p:ext uri="{19B8F6BF-5375-455C-9EA6-DF929625EA0E}">
        <p15:presenceInfo xmlns:p15="http://schemas.microsoft.com/office/powerpoint/2012/main" userId="infographiste" providerId="None"/>
      </p:ext>
    </p:extLst>
  </p:cmAuthor>
  <p:cmAuthor id="9" name="Denis Bley" initials="DB [2]" lastIdx="25" clrIdx="8">
    <p:extLst>
      <p:ext uri="{19B8F6BF-5375-455C-9EA6-DF929625EA0E}">
        <p15:presenceInfo xmlns:p15="http://schemas.microsoft.com/office/powerpoint/2012/main" userId="S-1-5-21-1905795870-44337699-2383600377-1129" providerId="AD"/>
      </p:ext>
    </p:extLst>
  </p:cmAuthor>
  <p:cmAuthor id="3" name="Prod La boite à slides" initials="PLbàs" lastIdx="0" clrIdx="2">
    <p:extLst>
      <p:ext uri="{19B8F6BF-5375-455C-9EA6-DF929625EA0E}">
        <p15:presenceInfo xmlns:p15="http://schemas.microsoft.com/office/powerpoint/2012/main" userId="Prod La boite à slides" providerId="None"/>
      </p:ext>
    </p:extLst>
  </p:cmAuthor>
  <p:cmAuthor id="10" name="Denis Bley" initials="DB [3]" lastIdx="1" clrIdx="9">
    <p:extLst>
      <p:ext uri="{19B8F6BF-5375-455C-9EA6-DF929625EA0E}">
        <p15:presenceInfo xmlns:p15="http://schemas.microsoft.com/office/powerpoint/2012/main" userId="1c1fb5acd60a0a3f" providerId="Windows Live"/>
      </p:ext>
    </p:extLst>
  </p:cmAuthor>
  <p:cmAuthor id="4" name="CABAU, Sébastien" initials="CS" lastIdx="12" clrIdx="3">
    <p:extLst>
      <p:ext uri="{19B8F6BF-5375-455C-9EA6-DF929625EA0E}">
        <p15:presenceInfo xmlns:p15="http://schemas.microsoft.com/office/powerpoint/2012/main" userId="S::sebastien.cabau@econocom.com::4d916d0f-c538-4bd8-8857-c05653e02085" providerId="AD"/>
      </p:ext>
    </p:extLst>
  </p:cmAuthor>
  <p:cmAuthor id="5" name="BAZILE, ERIC" initials="BE" lastIdx="86" clrIdx="4">
    <p:extLst>
      <p:ext uri="{19B8F6BF-5375-455C-9EA6-DF929625EA0E}">
        <p15:presenceInfo xmlns:p15="http://schemas.microsoft.com/office/powerpoint/2012/main" userId="S::eric.bazile@econocom.com::398cf26d-cec4-401d-813b-eb4f809c7595" providerId="AD"/>
      </p:ext>
    </p:extLst>
  </p:cmAuthor>
  <p:cmAuthor id="6" name="Denis Bley" initials="DB" lastIdx="22" clrIdx="5">
    <p:extLst>
      <p:ext uri="{19B8F6BF-5375-455C-9EA6-DF929625EA0E}">
        <p15:presenceInfo xmlns:p15="http://schemas.microsoft.com/office/powerpoint/2012/main" userId="Denis Ble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D957"/>
    <a:srgbClr val="573EEF"/>
    <a:srgbClr val="E6E6E6"/>
    <a:srgbClr val="33008E"/>
    <a:srgbClr val="FFDA53"/>
    <a:srgbClr val="C5A725"/>
    <a:srgbClr val="99E5E8"/>
    <a:srgbClr val="000000"/>
    <a:srgbClr val="FF6C2F"/>
    <a:srgbClr val="3E0D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96357" autoAdjust="0"/>
  </p:normalViewPr>
  <p:slideViewPr>
    <p:cSldViewPr snapToGrid="0">
      <p:cViewPr varScale="1">
        <p:scale>
          <a:sx n="82" d="100"/>
          <a:sy n="82" d="100"/>
        </p:scale>
        <p:origin x="725" y="58"/>
      </p:cViewPr>
      <p:guideLst>
        <p:guide orient="horz" pos="3612"/>
        <p:guide pos="2457"/>
        <p:guide pos="551"/>
        <p:guide orient="horz" pos="981"/>
        <p:guide orient="horz" pos="3884"/>
        <p:guide orient="horz" pos="2069"/>
      </p:guideLst>
    </p:cSldViewPr>
  </p:slideViewPr>
  <p:notesTextViewPr>
    <p:cViewPr>
      <p:scale>
        <a:sx n="100" d="100"/>
        <a:sy n="100" d="100"/>
      </p:scale>
      <p:origin x="0" y="0"/>
    </p:cViewPr>
  </p:notesTextViewPr>
  <p:sorterViewPr>
    <p:cViewPr varScale="1">
      <p:scale>
        <a:sx n="100" d="100"/>
        <a:sy n="100" d="100"/>
      </p:scale>
      <p:origin x="0" y="-5584"/>
    </p:cViewPr>
  </p:sorterViewPr>
  <p:notesViewPr>
    <p:cSldViewPr snapToGrid="0">
      <p:cViewPr varScale="1">
        <p:scale>
          <a:sx n="58" d="100"/>
          <a:sy n="58" d="100"/>
        </p:scale>
        <p:origin x="3254" y="53"/>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font" Target="fonts/font1.fntdata"/><Relationship Id="rId39" Type="http://schemas.openxmlformats.org/officeDocument/2006/relationships/font" Target="fonts/font14.fntdata"/><Relationship Id="rId21" Type="http://schemas.openxmlformats.org/officeDocument/2006/relationships/slide" Target="slides/slide12.xml"/><Relationship Id="rId34" Type="http://schemas.openxmlformats.org/officeDocument/2006/relationships/font" Target="fonts/font9.fntdata"/><Relationship Id="rId42" Type="http://schemas.openxmlformats.org/officeDocument/2006/relationships/font" Target="fonts/font17.fntdata"/><Relationship Id="rId47"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font" Target="fonts/font4.fntdata"/><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font" Target="fonts/font3.fntdata"/><Relationship Id="rId36" Type="http://schemas.openxmlformats.org/officeDocument/2006/relationships/font" Target="fonts/font11.fntdata"/><Relationship Id="rId49"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font" Target="fonts/font6.fntdata"/><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font" Target="fonts/font18.fntdata"/><Relationship Id="rId48"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notesMaster" Target="notesMasters/notesMaster1.xml"/><Relationship Id="rId33" Type="http://schemas.openxmlformats.org/officeDocument/2006/relationships/font" Target="fonts/font8.fntdata"/><Relationship Id="rId38" Type="http://schemas.openxmlformats.org/officeDocument/2006/relationships/font" Target="fonts/font13.fntdata"/><Relationship Id="rId46" Type="http://schemas.openxmlformats.org/officeDocument/2006/relationships/presProps" Target="presProps.xml"/><Relationship Id="rId20" Type="http://schemas.openxmlformats.org/officeDocument/2006/relationships/slide" Target="slides/slide11.xml"/><Relationship Id="rId41"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_rels/data1.xml.rels><?xml version="1.0" encoding="UTF-8" standalone="yes"?>
<Relationships xmlns="http://schemas.openxmlformats.org/package/2006/relationships"><Relationship Id="rId8" Type="http://schemas.openxmlformats.org/officeDocument/2006/relationships/image" Target="../media/image49.jpg"/><Relationship Id="rId3" Type="http://schemas.openxmlformats.org/officeDocument/2006/relationships/image" Target="../media/image44.jpg"/><Relationship Id="rId7" Type="http://schemas.openxmlformats.org/officeDocument/2006/relationships/image" Target="../media/image48.jpg"/><Relationship Id="rId2" Type="http://schemas.openxmlformats.org/officeDocument/2006/relationships/image" Target="../media/image43.png"/><Relationship Id="rId1" Type="http://schemas.openxmlformats.org/officeDocument/2006/relationships/image" Target="../media/image42.jpg"/><Relationship Id="rId6" Type="http://schemas.openxmlformats.org/officeDocument/2006/relationships/image" Target="../media/image47.jpg"/><Relationship Id="rId11" Type="http://schemas.openxmlformats.org/officeDocument/2006/relationships/image" Target="../media/image52.jpg"/><Relationship Id="rId5" Type="http://schemas.openxmlformats.org/officeDocument/2006/relationships/image" Target="../media/image46.jpg"/><Relationship Id="rId10" Type="http://schemas.openxmlformats.org/officeDocument/2006/relationships/image" Target="../media/image51.jpg"/><Relationship Id="rId4" Type="http://schemas.openxmlformats.org/officeDocument/2006/relationships/image" Target="../media/image45.jpg"/><Relationship Id="rId9" Type="http://schemas.openxmlformats.org/officeDocument/2006/relationships/image" Target="../media/image50.jpg"/></Relationships>
</file>

<file path=ppt/diagrams/_rels/drawing1.xml.rels><?xml version="1.0" encoding="UTF-8" standalone="yes"?>
<Relationships xmlns="http://schemas.openxmlformats.org/package/2006/relationships"><Relationship Id="rId8" Type="http://schemas.openxmlformats.org/officeDocument/2006/relationships/image" Target="../media/image49.jpg"/><Relationship Id="rId3" Type="http://schemas.openxmlformats.org/officeDocument/2006/relationships/image" Target="../media/image44.jpg"/><Relationship Id="rId7" Type="http://schemas.openxmlformats.org/officeDocument/2006/relationships/image" Target="../media/image48.jpg"/><Relationship Id="rId2" Type="http://schemas.openxmlformats.org/officeDocument/2006/relationships/image" Target="../media/image43.png"/><Relationship Id="rId1" Type="http://schemas.openxmlformats.org/officeDocument/2006/relationships/image" Target="../media/image42.jpg"/><Relationship Id="rId6" Type="http://schemas.openxmlformats.org/officeDocument/2006/relationships/image" Target="../media/image47.jpg"/><Relationship Id="rId11" Type="http://schemas.openxmlformats.org/officeDocument/2006/relationships/image" Target="../media/image52.jpg"/><Relationship Id="rId5" Type="http://schemas.openxmlformats.org/officeDocument/2006/relationships/image" Target="../media/image46.jpg"/><Relationship Id="rId10" Type="http://schemas.openxmlformats.org/officeDocument/2006/relationships/image" Target="../media/image51.jpg"/><Relationship Id="rId4" Type="http://schemas.openxmlformats.org/officeDocument/2006/relationships/image" Target="../media/image45.jpg"/><Relationship Id="rId9" Type="http://schemas.openxmlformats.org/officeDocument/2006/relationships/image" Target="../media/image50.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BC10E05-19CF-491C-A77D-E7387BA54212}" type="doc">
      <dgm:prSet loTypeId="urn:microsoft.com/office/officeart/2008/layout/CaptionedPictures" loCatId="picture" qsTypeId="urn:microsoft.com/office/officeart/2005/8/quickstyle/simple1" qsCatId="simple" csTypeId="urn:microsoft.com/office/officeart/2005/8/colors/accent1_2" csCatId="accent1" phldr="1"/>
      <dgm:spPr/>
      <dgm:t>
        <a:bodyPr/>
        <a:lstStyle/>
        <a:p>
          <a:endParaRPr lang="en-GB"/>
        </a:p>
      </dgm:t>
    </dgm:pt>
    <dgm:pt modelId="{0DB86D71-F915-4FAA-873F-2035832E56D6}">
      <dgm:prSet phldrT="[Text]" custT="1"/>
      <dgm:spPr>
        <a:xfrm>
          <a:off x="1690928" y="1558405"/>
          <a:ext cx="1243616" cy="438923"/>
        </a:xfrm>
        <a:prstGeom prst="rect">
          <a:avLst/>
        </a:prstGeo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AV / Digital signage </a:t>
          </a:r>
        </a:p>
      </dgm:t>
    </dgm:pt>
    <dgm:pt modelId="{0B7CF242-9B19-43CA-97DF-9FF7CFC1214A}" type="parTrans" cxnId="{359B7E46-6326-4C42-8617-94956F067E4D}">
      <dgm:prSet/>
      <dgm:spPr/>
      <dgm:t>
        <a:bodyPr/>
        <a:lstStyle/>
        <a:p>
          <a:endParaRPr lang="en-GB" sz="3200" b="1">
            <a:latin typeface="Montserrat" panose="00000500000000000000" pitchFamily="2" charset="0"/>
          </a:endParaRPr>
        </a:p>
      </dgm:t>
    </dgm:pt>
    <dgm:pt modelId="{61DBB552-2E6F-45DA-9047-4040920B9973}" type="sibTrans" cxnId="{359B7E46-6326-4C42-8617-94956F067E4D}">
      <dgm:prSet/>
      <dgm:spPr/>
      <dgm:t>
        <a:bodyPr/>
        <a:lstStyle/>
        <a:p>
          <a:endParaRPr lang="en-GB" sz="3200" b="1">
            <a:latin typeface="Montserrat" panose="00000500000000000000" pitchFamily="2" charset="0"/>
          </a:endParaRPr>
        </a:p>
      </dgm:t>
    </dgm:pt>
    <dgm:pt modelId="{1B58784B-1B26-43F3-AB3F-B93C3E7D7588}">
      <dgm:prSet custT="1"/>
      <dgm:spPr>
        <a:xfrm>
          <a:off x="3310892" y="1558405"/>
          <a:ext cx="1243616" cy="438923"/>
        </a:xfrm>
        <a:prstGeom prst="rect">
          <a:avLst/>
        </a:prstGeom>
        <a:noFill/>
        <a:ln>
          <a:noFill/>
        </a:ln>
        <a:effectLst/>
      </dgm:spPr>
      <dgm:t>
        <a:bodyPr/>
        <a:lstStyle/>
        <a:p>
          <a:pPr>
            <a:buNone/>
          </a:pPr>
          <a:r>
            <a:rPr lang="en-GB" sz="1100" b="1" dirty="0">
              <a:solidFill>
                <a:srgbClr val="573EEF"/>
              </a:solidFill>
              <a:latin typeface="Montserrat" panose="00000500000000000000" pitchFamily="2" charset="0"/>
              <a:ea typeface="+mn-ea"/>
              <a:cs typeface="+mn-cs"/>
            </a:rPr>
            <a:t>Software, cloud, network &amp;  servers</a:t>
          </a:r>
        </a:p>
      </dgm:t>
    </dgm:pt>
    <dgm:pt modelId="{5F4E5AEC-CE79-4880-8687-968809E8BA17}" type="parTrans" cxnId="{EB686D95-2F4F-4F07-8F19-9FE22EEB5913}">
      <dgm:prSet/>
      <dgm:spPr/>
      <dgm:t>
        <a:bodyPr/>
        <a:lstStyle/>
        <a:p>
          <a:endParaRPr lang="en-GB" sz="3200" b="1">
            <a:latin typeface="Montserrat" panose="00000500000000000000" pitchFamily="2" charset="0"/>
          </a:endParaRPr>
        </a:p>
      </dgm:t>
    </dgm:pt>
    <dgm:pt modelId="{CE85F984-8491-485F-95C3-F06E8274249D}" type="sibTrans" cxnId="{EB686D95-2F4F-4F07-8F19-9FE22EEB5913}">
      <dgm:prSet/>
      <dgm:spPr/>
      <dgm:t>
        <a:bodyPr/>
        <a:lstStyle/>
        <a:p>
          <a:endParaRPr lang="en-GB" sz="3200" b="1">
            <a:latin typeface="Montserrat" panose="00000500000000000000" pitchFamily="2" charset="0"/>
          </a:endParaRPr>
        </a:p>
      </dgm:t>
    </dgm:pt>
    <dgm:pt modelId="{E66E33A4-4087-45EA-A268-54B23812B1C4}">
      <dgm:prSet custT="1"/>
      <dgm:spPr>
        <a:xfrm>
          <a:off x="1690928" y="3322227"/>
          <a:ext cx="1243616" cy="438923"/>
        </a:xfrm>
        <a:prstGeom prst="rect">
          <a:avLst/>
        </a:prstGeo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LED lighting / refrigeration</a:t>
          </a:r>
        </a:p>
      </dgm:t>
    </dgm:pt>
    <dgm:pt modelId="{618B9661-268B-47E3-9899-3D4E9D78F090}" type="parTrans" cxnId="{AD9D1F5C-A5D9-4EDE-8A7B-66299E6608AE}">
      <dgm:prSet/>
      <dgm:spPr/>
      <dgm:t>
        <a:bodyPr/>
        <a:lstStyle/>
        <a:p>
          <a:endParaRPr lang="en-GB" sz="3200" b="1"/>
        </a:p>
      </dgm:t>
    </dgm:pt>
    <dgm:pt modelId="{80BC9988-63FF-4377-9B99-2210660B1714}" type="sibTrans" cxnId="{AD9D1F5C-A5D9-4EDE-8A7B-66299E6608AE}">
      <dgm:prSet/>
      <dgm:spPr/>
      <dgm:t>
        <a:bodyPr/>
        <a:lstStyle/>
        <a:p>
          <a:endParaRPr lang="en-GB" sz="3200" b="1"/>
        </a:p>
      </dgm:t>
    </dgm:pt>
    <dgm:pt modelId="{33DA7E00-3A42-44E8-9BD3-752CAAC63B6A}">
      <dgm:prSet custT="1"/>
      <dgm:spPr>
        <a:xfrm>
          <a:off x="70963" y="3322227"/>
          <a:ext cx="1243616" cy="438923"/>
        </a:xfrm>
        <a:prstGeom prst="rect">
          <a:avLst/>
        </a:prstGeo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Meeting room</a:t>
          </a:r>
        </a:p>
      </dgm:t>
    </dgm:pt>
    <dgm:pt modelId="{45C27919-A7D5-4055-82F7-40B40C030CF2}" type="parTrans" cxnId="{E81C25DE-5B07-4A9E-9365-B397D1C4ED67}">
      <dgm:prSet/>
      <dgm:spPr/>
      <dgm:t>
        <a:bodyPr/>
        <a:lstStyle/>
        <a:p>
          <a:endParaRPr lang="en-GB" sz="3200" b="1"/>
        </a:p>
      </dgm:t>
    </dgm:pt>
    <dgm:pt modelId="{A712B85D-A959-438C-ADF6-54EFBE62AD27}" type="sibTrans" cxnId="{E81C25DE-5B07-4A9E-9365-B397D1C4ED67}">
      <dgm:prSet/>
      <dgm:spPr/>
      <dgm:t>
        <a:bodyPr/>
        <a:lstStyle/>
        <a:p>
          <a:endParaRPr lang="en-GB" sz="3200" b="1"/>
        </a:p>
      </dgm:t>
    </dgm:pt>
    <dgm:pt modelId="{01D907B9-FAF4-46C7-BC9A-A30DBEB45620}">
      <dgm:prSet phldrT="[Text]" custT="1"/>
      <dgm:spPr>
        <a:xfrm>
          <a:off x="70963" y="1558405"/>
          <a:ext cx="1243616" cy="438923"/>
        </a:xfrm>
        <a:prstGeom prst="rect">
          <a:avLst/>
        </a:prstGeo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IT / Modern workplace </a:t>
          </a:r>
        </a:p>
      </dgm:t>
    </dgm:pt>
    <dgm:pt modelId="{C7D70A03-6CC3-4D88-B7DF-A173774C9D93}" type="parTrans" cxnId="{72A31A1D-4C46-47BF-A998-E13BB9C1B211}">
      <dgm:prSet/>
      <dgm:spPr/>
      <dgm:t>
        <a:bodyPr/>
        <a:lstStyle/>
        <a:p>
          <a:endParaRPr lang="en-GB" sz="3200" b="1"/>
        </a:p>
      </dgm:t>
    </dgm:pt>
    <dgm:pt modelId="{C95C4073-F18A-40B4-BC69-AB092BE23F8F}" type="sibTrans" cxnId="{72A31A1D-4C46-47BF-A998-E13BB9C1B211}">
      <dgm:prSet/>
      <dgm:spPr/>
      <dgm:t>
        <a:bodyPr/>
        <a:lstStyle/>
        <a:p>
          <a:endParaRPr lang="en-GB" sz="3200" b="1"/>
        </a:p>
      </dgm:t>
    </dgm:pt>
    <dgm:pt modelId="{DF2B2E8F-87BA-4AA2-9BC9-2943E2EA3531}">
      <dgm:prSet custT="1"/>
      <dgm:spPr>
        <a:xfrm>
          <a:off x="4930857" y="1558405"/>
          <a:ext cx="1243616" cy="438923"/>
        </a:xfrm>
        <a:prstGeom prst="rect">
          <a:avLst/>
        </a:prstGeo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Consulting </a:t>
          </a:r>
        </a:p>
      </dgm:t>
    </dgm:pt>
    <dgm:pt modelId="{FA5FD4D2-5F9A-400B-9258-281B6DF9B400}" type="sibTrans" cxnId="{0EF73816-57AF-4DE6-A7CB-5C5258F61AC1}">
      <dgm:prSet/>
      <dgm:spPr/>
      <dgm:t>
        <a:bodyPr/>
        <a:lstStyle/>
        <a:p>
          <a:endParaRPr lang="en-GB" sz="3200" b="1">
            <a:latin typeface="Montserrat" panose="00000500000000000000" pitchFamily="2" charset="0"/>
          </a:endParaRPr>
        </a:p>
      </dgm:t>
    </dgm:pt>
    <dgm:pt modelId="{D0460599-4322-4A70-8429-58D5C3C92DEB}" type="parTrans" cxnId="{0EF73816-57AF-4DE6-A7CB-5C5258F61AC1}">
      <dgm:prSet/>
      <dgm:spPr/>
      <dgm:t>
        <a:bodyPr/>
        <a:lstStyle/>
        <a:p>
          <a:endParaRPr lang="en-GB" sz="3200" b="1">
            <a:latin typeface="Montserrat" panose="00000500000000000000" pitchFamily="2" charset="0"/>
          </a:endParaRPr>
        </a:p>
      </dgm:t>
    </dgm:pt>
    <dgm:pt modelId="{47292F13-FFEA-4608-BAEF-7C21C65F4D96}">
      <dgm:prSet custT="1"/>
      <dgm:spPr>
        <a:xfrm>
          <a:off x="4930857" y="3322227"/>
          <a:ext cx="1243616" cy="438923"/>
        </a:xfrm>
        <a:prstGeom prst="rect">
          <a:avLst/>
        </a:prstGeo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Ticket machines</a:t>
          </a:r>
        </a:p>
      </dgm:t>
    </dgm:pt>
    <dgm:pt modelId="{F96579BB-BE94-4897-A9C7-1C85B8E66BD7}" type="parTrans" cxnId="{E9F2A67E-B01C-4CF0-B63E-B09DBDC8C028}">
      <dgm:prSet/>
      <dgm:spPr/>
      <dgm:t>
        <a:bodyPr/>
        <a:lstStyle/>
        <a:p>
          <a:endParaRPr lang="en-GB" sz="3200" b="1"/>
        </a:p>
      </dgm:t>
    </dgm:pt>
    <dgm:pt modelId="{E33AA9EC-55E9-49FB-A2F3-14FD42235E4E}" type="sibTrans" cxnId="{E9F2A67E-B01C-4CF0-B63E-B09DBDC8C028}">
      <dgm:prSet/>
      <dgm:spPr/>
      <dgm:t>
        <a:bodyPr/>
        <a:lstStyle/>
        <a:p>
          <a:endParaRPr lang="en-GB" sz="3200" b="1"/>
        </a:p>
      </dgm:t>
    </dgm:pt>
    <dgm:pt modelId="{0C2E214A-7DE2-4196-BA55-B1EEC0E84F73}">
      <dgm:prSet custT="1"/>
      <dgm:spPr>
        <a:xfrm>
          <a:off x="3310892" y="3322227"/>
          <a:ext cx="1243616" cy="438923"/>
        </a:xfrm>
        <a:prstGeom prst="rect">
          <a:avLst/>
        </a:prstGeo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Smart lockers</a:t>
          </a:r>
        </a:p>
      </dgm:t>
    </dgm:pt>
    <dgm:pt modelId="{2192F35F-479A-4449-9ACC-553C23C00CB5}" type="parTrans" cxnId="{D3ADF3A1-4A9A-49AE-B0FC-397E9C72AFCA}">
      <dgm:prSet/>
      <dgm:spPr/>
      <dgm:t>
        <a:bodyPr/>
        <a:lstStyle/>
        <a:p>
          <a:endParaRPr lang="en-GB" sz="3200" b="1"/>
        </a:p>
      </dgm:t>
    </dgm:pt>
    <dgm:pt modelId="{C3B95012-6CE8-447A-91FC-E88CBB53EA79}" type="sibTrans" cxnId="{D3ADF3A1-4A9A-49AE-B0FC-397E9C72AFCA}">
      <dgm:prSet/>
      <dgm:spPr/>
      <dgm:t>
        <a:bodyPr/>
        <a:lstStyle/>
        <a:p>
          <a:endParaRPr lang="en-GB" sz="3200" b="1"/>
        </a:p>
      </dgm:t>
    </dgm:pt>
    <dgm:pt modelId="{C67ABA7A-F117-462A-BA3D-78332E909A88}">
      <dgm:prSet custT="1"/>
      <dgm:spPr>
        <a:xfrm>
          <a:off x="3310892" y="3322227"/>
          <a:ext cx="1243616" cy="438923"/>
        </a:xfr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Self checkout / PIN pads</a:t>
          </a:r>
        </a:p>
      </dgm:t>
    </dgm:pt>
    <dgm:pt modelId="{9F7F007C-BFBE-42FD-96D2-E97F3698DF9D}" type="parTrans" cxnId="{D0DF5055-194D-4484-934F-E62895A404BC}">
      <dgm:prSet/>
      <dgm:spPr/>
      <dgm:t>
        <a:bodyPr/>
        <a:lstStyle/>
        <a:p>
          <a:endParaRPr lang="en-GB" sz="2400" b="1"/>
        </a:p>
      </dgm:t>
    </dgm:pt>
    <dgm:pt modelId="{C0A2FFE9-6B60-4B66-808B-E52D1A7C5FA3}" type="sibTrans" cxnId="{D0DF5055-194D-4484-934F-E62895A404BC}">
      <dgm:prSet/>
      <dgm:spPr/>
      <dgm:t>
        <a:bodyPr/>
        <a:lstStyle/>
        <a:p>
          <a:endParaRPr lang="en-GB" sz="2400" b="1"/>
        </a:p>
      </dgm:t>
    </dgm:pt>
    <dgm:pt modelId="{F255030F-877D-4D98-BC3A-FEE2F7BB389A}">
      <dgm:prSet custT="1"/>
      <dgm:spPr>
        <a:xfrm>
          <a:off x="4930857" y="3322227"/>
          <a:ext cx="1243616" cy="438923"/>
        </a:xfr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Car park tech</a:t>
          </a:r>
        </a:p>
      </dgm:t>
    </dgm:pt>
    <dgm:pt modelId="{768377C8-A985-42DE-A021-468608B29C32}" type="parTrans" cxnId="{654A88AC-0ECA-427F-84DD-1769D499EDB9}">
      <dgm:prSet/>
      <dgm:spPr/>
      <dgm:t>
        <a:bodyPr/>
        <a:lstStyle/>
        <a:p>
          <a:endParaRPr lang="en-GB" sz="2400" b="1"/>
        </a:p>
      </dgm:t>
    </dgm:pt>
    <dgm:pt modelId="{47EB3F3F-4022-4575-A99D-6ACDF6B7B778}" type="sibTrans" cxnId="{654A88AC-0ECA-427F-84DD-1769D499EDB9}">
      <dgm:prSet/>
      <dgm:spPr/>
      <dgm:t>
        <a:bodyPr/>
        <a:lstStyle/>
        <a:p>
          <a:endParaRPr lang="en-GB" sz="2400" b="1"/>
        </a:p>
      </dgm:t>
    </dgm:pt>
    <dgm:pt modelId="{08F924C5-7BD0-4FC7-B5F6-7D30101B2D47}">
      <dgm:prSet custT="1"/>
      <dgm:spPr>
        <a:xfrm>
          <a:off x="4930857" y="3322227"/>
          <a:ext cx="1243616" cy="438923"/>
        </a:xfrm>
        <a:noFill/>
        <a:ln>
          <a:noFill/>
        </a:ln>
        <a:effectLst/>
      </dgm:spPr>
      <dgm:t>
        <a:bodyPr/>
        <a:lstStyle/>
        <a:p>
          <a:pPr>
            <a:buNone/>
          </a:pPr>
          <a:r>
            <a:rPr lang="en-GB" sz="1200" b="1" dirty="0">
              <a:solidFill>
                <a:srgbClr val="573EEF"/>
              </a:solidFill>
              <a:latin typeface="Montserrat" panose="00000500000000000000" pitchFamily="2" charset="0"/>
              <a:ea typeface="+mn-ea"/>
              <a:cs typeface="+mn-cs"/>
            </a:rPr>
            <a:t>Media equipment</a:t>
          </a:r>
        </a:p>
      </dgm:t>
    </dgm:pt>
    <dgm:pt modelId="{FC8E7D74-9EB4-4EDB-B8BE-903F91E6C563}" type="parTrans" cxnId="{336517B0-2A6D-45A2-AF22-F037E09E4494}">
      <dgm:prSet/>
      <dgm:spPr/>
      <dgm:t>
        <a:bodyPr/>
        <a:lstStyle/>
        <a:p>
          <a:endParaRPr lang="en-GB" sz="2400" b="1"/>
        </a:p>
      </dgm:t>
    </dgm:pt>
    <dgm:pt modelId="{C5A5E35D-E48D-4437-9119-69D049689DE1}" type="sibTrans" cxnId="{336517B0-2A6D-45A2-AF22-F037E09E4494}">
      <dgm:prSet/>
      <dgm:spPr/>
      <dgm:t>
        <a:bodyPr/>
        <a:lstStyle/>
        <a:p>
          <a:endParaRPr lang="en-GB" sz="2400" b="1"/>
        </a:p>
      </dgm:t>
    </dgm:pt>
    <dgm:pt modelId="{A07185A3-7A60-4E03-8F5D-8F7E43E7AC72}" type="pres">
      <dgm:prSet presAssocID="{DBC10E05-19CF-491C-A77D-E7387BA54212}" presName="Name0" presStyleCnt="0">
        <dgm:presLayoutVars>
          <dgm:chMax/>
          <dgm:chPref/>
          <dgm:dir/>
        </dgm:presLayoutVars>
      </dgm:prSet>
      <dgm:spPr/>
    </dgm:pt>
    <dgm:pt modelId="{1762133C-BEA1-4B27-8C3B-4438093B4FB3}" type="pres">
      <dgm:prSet presAssocID="{01D907B9-FAF4-46C7-BC9A-A30DBEB45620}" presName="composite" presStyleCnt="0">
        <dgm:presLayoutVars>
          <dgm:chMax val="1"/>
          <dgm:chPref val="1"/>
        </dgm:presLayoutVars>
      </dgm:prSet>
      <dgm:spPr/>
    </dgm:pt>
    <dgm:pt modelId="{747F35AA-F7F9-416D-A4F3-235663FA61CD}" type="pres">
      <dgm:prSet presAssocID="{01D907B9-FAF4-46C7-BC9A-A30DBEB45620}" presName="Accent" presStyleLbl="trAlignAcc1" presStyleIdx="0" presStyleCnt="11">
        <dgm:presLayoutVars>
          <dgm:chMax val="0"/>
          <dgm:chPref val="0"/>
        </dgm:presLayoutVars>
      </dgm:prSet>
      <dgm:spPr>
        <a:xfrm>
          <a:off x="1873" y="436711"/>
          <a:ext cx="1381796" cy="1625642"/>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gm:spPr>
    </dgm:pt>
    <dgm:pt modelId="{FF73ECE6-1C57-49C1-84CB-5F2CC4EA4EB7}" type="pres">
      <dgm:prSet presAssocID="{01D907B9-FAF4-46C7-BC9A-A30DBEB45620}" presName="Image" presStyleLbl="alignImgPlace1" presStyleIdx="0" presStyleCnt="11">
        <dgm:presLayoutVars>
          <dgm:chMax val="0"/>
          <dgm:chPref val="0"/>
        </dgm:presLayoutVars>
      </dgm:prSet>
      <dgm:spPr>
        <a:xfrm>
          <a:off x="70963" y="501737"/>
          <a:ext cx="1243616" cy="1056667"/>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4000" r="-14000"/>
          </a:stretch>
        </a:blipFill>
        <a:ln w="12700" cap="flat" cmpd="sng" algn="ctr">
          <a:solidFill>
            <a:sysClr val="window" lastClr="FFFFFF">
              <a:hueOff val="0"/>
              <a:satOff val="0"/>
              <a:lumOff val="0"/>
              <a:alphaOff val="0"/>
            </a:sysClr>
          </a:solidFill>
          <a:prstDash val="solid"/>
          <a:miter lim="800000"/>
        </a:ln>
        <a:effectLst/>
      </dgm:spPr>
    </dgm:pt>
    <dgm:pt modelId="{8D0F3E51-03CD-4615-8FE9-8AC10F783121}" type="pres">
      <dgm:prSet presAssocID="{01D907B9-FAF4-46C7-BC9A-A30DBEB45620}" presName="ChildComposite" presStyleCnt="0"/>
      <dgm:spPr/>
    </dgm:pt>
    <dgm:pt modelId="{476F297B-6A3C-4F04-BC79-BAE2787664D0}" type="pres">
      <dgm:prSet presAssocID="{01D907B9-FAF4-46C7-BC9A-A30DBEB45620}" presName="Child" presStyleLbl="node1" presStyleIdx="0" presStyleCnt="0">
        <dgm:presLayoutVars>
          <dgm:chMax val="0"/>
          <dgm:chPref val="0"/>
          <dgm:bulletEnabled val="1"/>
        </dgm:presLayoutVars>
      </dgm:prSet>
      <dgm:spPr/>
    </dgm:pt>
    <dgm:pt modelId="{D4D73926-EFA5-4688-81D0-001C8D621E98}" type="pres">
      <dgm:prSet presAssocID="{01D907B9-FAF4-46C7-BC9A-A30DBEB45620}" presName="Parent" presStyleLbl="revTx" presStyleIdx="0" presStyleCnt="11">
        <dgm:presLayoutVars>
          <dgm:chMax val="1"/>
          <dgm:chPref val="0"/>
          <dgm:bulletEnabled val="1"/>
        </dgm:presLayoutVars>
      </dgm:prSet>
      <dgm:spPr/>
    </dgm:pt>
    <dgm:pt modelId="{31DE4013-63CB-4AC4-A7E4-0F1E0BEE26FF}" type="pres">
      <dgm:prSet presAssocID="{C95C4073-F18A-40B4-BC69-AB092BE23F8F}" presName="sibTrans" presStyleCnt="0"/>
      <dgm:spPr/>
    </dgm:pt>
    <dgm:pt modelId="{C84A2F26-C404-4EA6-A0E4-DE91627B99EE}" type="pres">
      <dgm:prSet presAssocID="{0DB86D71-F915-4FAA-873F-2035832E56D6}" presName="composite" presStyleCnt="0">
        <dgm:presLayoutVars>
          <dgm:chMax val="1"/>
          <dgm:chPref val="1"/>
        </dgm:presLayoutVars>
      </dgm:prSet>
      <dgm:spPr/>
    </dgm:pt>
    <dgm:pt modelId="{9B265A07-7FEA-453A-98A9-0AFC37D8115E}" type="pres">
      <dgm:prSet presAssocID="{0DB86D71-F915-4FAA-873F-2035832E56D6}" presName="Accent" presStyleLbl="trAlignAcc1" presStyleIdx="1" presStyleCnt="11">
        <dgm:presLayoutVars>
          <dgm:chMax val="0"/>
          <dgm:chPref val="0"/>
        </dgm:presLayoutVars>
      </dgm:prSet>
      <dgm:spPr>
        <a:xfrm>
          <a:off x="1621838" y="436711"/>
          <a:ext cx="1381796" cy="1625642"/>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gm:spPr>
    </dgm:pt>
    <dgm:pt modelId="{59953825-12B2-4042-8F51-0C8A8C4DAECB}" type="pres">
      <dgm:prSet presAssocID="{0DB86D71-F915-4FAA-873F-2035832E56D6}" presName="Image" presStyleLbl="alignImgPlace1" presStyleIdx="1" presStyleCnt="11">
        <dgm:presLayoutVars>
          <dgm:chMax val="0"/>
          <dgm:chPref val="0"/>
        </dgm:presLayoutVars>
      </dgm:prSet>
      <dgm:spPr>
        <a:xfrm>
          <a:off x="1690928" y="501737"/>
          <a:ext cx="1243616" cy="1056667"/>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7000" b="-7000"/>
          </a:stretch>
        </a:blipFill>
        <a:ln w="12700" cap="flat" cmpd="sng" algn="ctr">
          <a:solidFill>
            <a:sysClr val="window" lastClr="FFFFFF">
              <a:hueOff val="0"/>
              <a:satOff val="0"/>
              <a:lumOff val="0"/>
              <a:alphaOff val="0"/>
            </a:sysClr>
          </a:solidFill>
          <a:prstDash val="solid"/>
          <a:miter lim="800000"/>
        </a:ln>
        <a:effectLst/>
      </dgm:spPr>
    </dgm:pt>
    <dgm:pt modelId="{4CC3B571-64C1-453F-B2B2-03623AEEEAA2}" type="pres">
      <dgm:prSet presAssocID="{0DB86D71-F915-4FAA-873F-2035832E56D6}" presName="ChildComposite" presStyleCnt="0"/>
      <dgm:spPr/>
    </dgm:pt>
    <dgm:pt modelId="{D0AAD3CC-27B2-43A9-B1F9-A3455F380A4E}" type="pres">
      <dgm:prSet presAssocID="{0DB86D71-F915-4FAA-873F-2035832E56D6}" presName="Child" presStyleLbl="node1" presStyleIdx="0" presStyleCnt="0">
        <dgm:presLayoutVars>
          <dgm:chMax val="0"/>
          <dgm:chPref val="0"/>
          <dgm:bulletEnabled val="1"/>
        </dgm:presLayoutVars>
      </dgm:prSet>
      <dgm:spPr/>
    </dgm:pt>
    <dgm:pt modelId="{E75F6679-1F70-488A-A11E-3C4B74342553}" type="pres">
      <dgm:prSet presAssocID="{0DB86D71-F915-4FAA-873F-2035832E56D6}" presName="Parent" presStyleLbl="revTx" presStyleIdx="1" presStyleCnt="11">
        <dgm:presLayoutVars>
          <dgm:chMax val="1"/>
          <dgm:chPref val="0"/>
          <dgm:bulletEnabled val="1"/>
        </dgm:presLayoutVars>
      </dgm:prSet>
      <dgm:spPr/>
    </dgm:pt>
    <dgm:pt modelId="{0B6AC204-7AE2-4423-B42D-C1577A611607}" type="pres">
      <dgm:prSet presAssocID="{61DBB552-2E6F-45DA-9047-4040920B9973}" presName="sibTrans" presStyleCnt="0"/>
      <dgm:spPr/>
    </dgm:pt>
    <dgm:pt modelId="{B2625025-B5DC-4A9B-A1F9-D390CBA03810}" type="pres">
      <dgm:prSet presAssocID="{1B58784B-1B26-43F3-AB3F-B93C3E7D7588}" presName="composite" presStyleCnt="0">
        <dgm:presLayoutVars>
          <dgm:chMax val="1"/>
          <dgm:chPref val="1"/>
        </dgm:presLayoutVars>
      </dgm:prSet>
      <dgm:spPr/>
    </dgm:pt>
    <dgm:pt modelId="{D6B89513-6923-44D5-B719-BF5FAEDA72FC}" type="pres">
      <dgm:prSet presAssocID="{1B58784B-1B26-43F3-AB3F-B93C3E7D7588}" presName="Accent" presStyleLbl="trAlignAcc1" presStyleIdx="2" presStyleCnt="11">
        <dgm:presLayoutVars>
          <dgm:chMax val="0"/>
          <dgm:chPref val="0"/>
        </dgm:presLayoutVars>
      </dgm:prSet>
      <dgm:spPr>
        <a:xfrm>
          <a:off x="3241803" y="436711"/>
          <a:ext cx="1381796" cy="1625642"/>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gm:spPr>
    </dgm:pt>
    <dgm:pt modelId="{FB3B0D26-B3CE-440E-93D5-8996A6EF3E97}" type="pres">
      <dgm:prSet presAssocID="{1B58784B-1B26-43F3-AB3F-B93C3E7D7588}" presName="Image" presStyleLbl="alignImgPlace1" presStyleIdx="2" presStyleCnt="11">
        <dgm:presLayoutVars>
          <dgm:chMax val="0"/>
          <dgm:chPref val="0"/>
        </dgm:presLayoutVars>
      </dgm:prSet>
      <dgm:spPr>
        <a:xfrm>
          <a:off x="3310892" y="501737"/>
          <a:ext cx="1243616" cy="1056667"/>
        </a:xfrm>
        <a:prstGeom prst="rect">
          <a:avLst/>
        </a:prstGeom>
        <a:blipFill>
          <a:blip xmlns:r="http://schemas.openxmlformats.org/officeDocument/2006/relationships" r:embed="rId3"/>
          <a:srcRect/>
          <a:stretch>
            <a:fillRect l="-14000" r="-14000"/>
          </a:stretch>
        </a:blipFill>
        <a:ln w="12700" cap="flat" cmpd="sng" algn="ctr">
          <a:solidFill>
            <a:sysClr val="window" lastClr="FFFFFF">
              <a:hueOff val="0"/>
              <a:satOff val="0"/>
              <a:lumOff val="0"/>
              <a:alphaOff val="0"/>
            </a:sysClr>
          </a:solidFill>
          <a:prstDash val="solid"/>
          <a:miter lim="800000"/>
        </a:ln>
        <a:effectLst/>
      </dgm:spPr>
    </dgm:pt>
    <dgm:pt modelId="{48A06F37-1599-4AF3-8EBE-35E7B550BE6A}" type="pres">
      <dgm:prSet presAssocID="{1B58784B-1B26-43F3-AB3F-B93C3E7D7588}" presName="ChildComposite" presStyleCnt="0"/>
      <dgm:spPr/>
    </dgm:pt>
    <dgm:pt modelId="{0852AF08-4EAD-4EF1-BD9D-9F659F4C482F}" type="pres">
      <dgm:prSet presAssocID="{1B58784B-1B26-43F3-AB3F-B93C3E7D7588}" presName="Child" presStyleLbl="node1" presStyleIdx="0" presStyleCnt="0">
        <dgm:presLayoutVars>
          <dgm:chMax val="0"/>
          <dgm:chPref val="0"/>
          <dgm:bulletEnabled val="1"/>
        </dgm:presLayoutVars>
      </dgm:prSet>
      <dgm:spPr/>
    </dgm:pt>
    <dgm:pt modelId="{23E08D0D-9E9E-42F1-BDC7-376146A4130C}" type="pres">
      <dgm:prSet presAssocID="{1B58784B-1B26-43F3-AB3F-B93C3E7D7588}" presName="Parent" presStyleLbl="revTx" presStyleIdx="2" presStyleCnt="11" custLinFactNeighborY="8716">
        <dgm:presLayoutVars>
          <dgm:chMax val="1"/>
          <dgm:chPref val="0"/>
          <dgm:bulletEnabled val="1"/>
        </dgm:presLayoutVars>
      </dgm:prSet>
      <dgm:spPr/>
    </dgm:pt>
    <dgm:pt modelId="{25DB3F9B-3F22-4E88-B2AF-79DA3035642D}" type="pres">
      <dgm:prSet presAssocID="{CE85F984-8491-485F-95C3-F06E8274249D}" presName="sibTrans" presStyleCnt="0"/>
      <dgm:spPr/>
    </dgm:pt>
    <dgm:pt modelId="{3420B64F-BCA3-42D6-9584-B77FC5E49485}" type="pres">
      <dgm:prSet presAssocID="{DF2B2E8F-87BA-4AA2-9BC9-2943E2EA3531}" presName="composite" presStyleCnt="0">
        <dgm:presLayoutVars>
          <dgm:chMax val="1"/>
          <dgm:chPref val="1"/>
        </dgm:presLayoutVars>
      </dgm:prSet>
      <dgm:spPr/>
    </dgm:pt>
    <dgm:pt modelId="{363653F6-B1AC-4F95-8646-009AD15110B4}" type="pres">
      <dgm:prSet presAssocID="{DF2B2E8F-87BA-4AA2-9BC9-2943E2EA3531}" presName="Accent" presStyleLbl="trAlignAcc1" presStyleIdx="3" presStyleCnt="11">
        <dgm:presLayoutVars>
          <dgm:chMax val="0"/>
          <dgm:chPref val="0"/>
        </dgm:presLayoutVars>
      </dgm:prSet>
      <dgm:spPr>
        <a:xfrm>
          <a:off x="4861767" y="436711"/>
          <a:ext cx="1381796" cy="1625642"/>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gm:spPr>
    </dgm:pt>
    <dgm:pt modelId="{9D105708-EB49-4857-939A-B9CA99058E39}" type="pres">
      <dgm:prSet presAssocID="{DF2B2E8F-87BA-4AA2-9BC9-2943E2EA3531}" presName="Image" presStyleLbl="alignImgPlace1" presStyleIdx="3" presStyleCnt="11">
        <dgm:presLayoutVars>
          <dgm:chMax val="0"/>
          <dgm:chPref val="0"/>
        </dgm:presLayoutVars>
      </dgm:prSet>
      <dgm:spPr>
        <a:xfrm>
          <a:off x="4930857" y="501737"/>
          <a:ext cx="1243616" cy="1056667"/>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4000" r="-24000"/>
          </a:stretch>
        </a:blipFill>
        <a:ln w="12700" cap="flat" cmpd="sng" algn="ctr">
          <a:solidFill>
            <a:sysClr val="window" lastClr="FFFFFF">
              <a:hueOff val="0"/>
              <a:satOff val="0"/>
              <a:lumOff val="0"/>
              <a:alphaOff val="0"/>
            </a:sysClr>
          </a:solidFill>
          <a:prstDash val="solid"/>
          <a:miter lim="800000"/>
        </a:ln>
        <a:effectLst/>
      </dgm:spPr>
    </dgm:pt>
    <dgm:pt modelId="{F29DB666-8BA3-4B48-9912-4440D0A7A632}" type="pres">
      <dgm:prSet presAssocID="{DF2B2E8F-87BA-4AA2-9BC9-2943E2EA3531}" presName="ChildComposite" presStyleCnt="0"/>
      <dgm:spPr/>
    </dgm:pt>
    <dgm:pt modelId="{E6437C11-FCBB-4029-9A4B-9C2CC4B7B357}" type="pres">
      <dgm:prSet presAssocID="{DF2B2E8F-87BA-4AA2-9BC9-2943E2EA3531}" presName="Child" presStyleLbl="node1" presStyleIdx="0" presStyleCnt="0">
        <dgm:presLayoutVars>
          <dgm:chMax val="0"/>
          <dgm:chPref val="0"/>
          <dgm:bulletEnabled val="1"/>
        </dgm:presLayoutVars>
      </dgm:prSet>
      <dgm:spPr/>
    </dgm:pt>
    <dgm:pt modelId="{01C1FE2C-9A3E-4C37-8405-2785CE1D1F40}" type="pres">
      <dgm:prSet presAssocID="{DF2B2E8F-87BA-4AA2-9BC9-2943E2EA3531}" presName="Parent" presStyleLbl="revTx" presStyleIdx="3" presStyleCnt="11">
        <dgm:presLayoutVars>
          <dgm:chMax val="1"/>
          <dgm:chPref val="0"/>
          <dgm:bulletEnabled val="1"/>
        </dgm:presLayoutVars>
      </dgm:prSet>
      <dgm:spPr/>
    </dgm:pt>
    <dgm:pt modelId="{5BB7FDFA-6CD8-4486-B487-85B4D84082B6}" type="pres">
      <dgm:prSet presAssocID="{FA5FD4D2-5F9A-400B-9258-281B6DF9B400}" presName="sibTrans" presStyleCnt="0"/>
      <dgm:spPr/>
    </dgm:pt>
    <dgm:pt modelId="{78C622E5-DC33-4B68-8DB8-3F44485BE413}" type="pres">
      <dgm:prSet presAssocID="{33DA7E00-3A42-44E8-9BD3-752CAAC63B6A}" presName="composite" presStyleCnt="0">
        <dgm:presLayoutVars>
          <dgm:chMax val="1"/>
          <dgm:chPref val="1"/>
        </dgm:presLayoutVars>
      </dgm:prSet>
      <dgm:spPr/>
    </dgm:pt>
    <dgm:pt modelId="{DFE7AB6E-48BC-460D-B743-9ACF5C18959D}" type="pres">
      <dgm:prSet presAssocID="{33DA7E00-3A42-44E8-9BD3-752CAAC63B6A}" presName="Accent" presStyleLbl="trAlignAcc1" presStyleIdx="4" presStyleCnt="11">
        <dgm:presLayoutVars>
          <dgm:chMax val="0"/>
          <dgm:chPref val="0"/>
        </dgm:presLayoutVars>
      </dgm:prSet>
      <dgm:spPr>
        <a:xfrm>
          <a:off x="1873" y="2200534"/>
          <a:ext cx="1381796" cy="1625642"/>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gm:spPr>
    </dgm:pt>
    <dgm:pt modelId="{3825B25B-9A6A-4EC1-820F-56DCC27F1701}" type="pres">
      <dgm:prSet presAssocID="{33DA7E00-3A42-44E8-9BD3-752CAAC63B6A}" presName="Image" presStyleLbl="alignImgPlace1" presStyleIdx="4" presStyleCnt="11">
        <dgm:presLayoutVars>
          <dgm:chMax val="0"/>
          <dgm:chPref val="0"/>
        </dgm:presLayoutVars>
      </dgm:prSet>
      <dgm:spPr>
        <a:xfrm>
          <a:off x="70963" y="2265560"/>
          <a:ext cx="1243616" cy="1056667"/>
        </a:xfrm>
        <a:prstGeom prst="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20000" r="-20000"/>
          </a:stretch>
        </a:blipFill>
        <a:ln w="12700" cap="flat" cmpd="sng" algn="ctr">
          <a:solidFill>
            <a:sysClr val="window" lastClr="FFFFFF">
              <a:hueOff val="0"/>
              <a:satOff val="0"/>
              <a:lumOff val="0"/>
              <a:alphaOff val="0"/>
            </a:sysClr>
          </a:solidFill>
          <a:prstDash val="solid"/>
          <a:miter lim="800000"/>
        </a:ln>
        <a:effectLst/>
      </dgm:spPr>
    </dgm:pt>
    <dgm:pt modelId="{752B8759-4A3B-453F-A432-C7E357B73880}" type="pres">
      <dgm:prSet presAssocID="{33DA7E00-3A42-44E8-9BD3-752CAAC63B6A}" presName="ChildComposite" presStyleCnt="0"/>
      <dgm:spPr/>
    </dgm:pt>
    <dgm:pt modelId="{DDCB0782-D7CA-45AB-8763-7490D5CFE6C2}" type="pres">
      <dgm:prSet presAssocID="{33DA7E00-3A42-44E8-9BD3-752CAAC63B6A}" presName="Child" presStyleLbl="node1" presStyleIdx="0" presStyleCnt="0">
        <dgm:presLayoutVars>
          <dgm:chMax val="0"/>
          <dgm:chPref val="0"/>
          <dgm:bulletEnabled val="1"/>
        </dgm:presLayoutVars>
      </dgm:prSet>
      <dgm:spPr/>
    </dgm:pt>
    <dgm:pt modelId="{0BEB9351-A264-45DB-8613-A0EDF36A7B32}" type="pres">
      <dgm:prSet presAssocID="{33DA7E00-3A42-44E8-9BD3-752CAAC63B6A}" presName="Parent" presStyleLbl="revTx" presStyleIdx="4" presStyleCnt="11">
        <dgm:presLayoutVars>
          <dgm:chMax val="1"/>
          <dgm:chPref val="0"/>
          <dgm:bulletEnabled val="1"/>
        </dgm:presLayoutVars>
      </dgm:prSet>
      <dgm:spPr/>
    </dgm:pt>
    <dgm:pt modelId="{11125AB7-7766-463F-B2E4-8B7E0AEF9176}" type="pres">
      <dgm:prSet presAssocID="{A712B85D-A959-438C-ADF6-54EFBE62AD27}" presName="sibTrans" presStyleCnt="0"/>
      <dgm:spPr/>
    </dgm:pt>
    <dgm:pt modelId="{BD662A05-51F9-40EA-9220-06E0243B3162}" type="pres">
      <dgm:prSet presAssocID="{E66E33A4-4087-45EA-A268-54B23812B1C4}" presName="composite" presStyleCnt="0">
        <dgm:presLayoutVars>
          <dgm:chMax val="1"/>
          <dgm:chPref val="1"/>
        </dgm:presLayoutVars>
      </dgm:prSet>
      <dgm:spPr/>
    </dgm:pt>
    <dgm:pt modelId="{C4948486-F096-430A-A8AE-324C5869907F}" type="pres">
      <dgm:prSet presAssocID="{E66E33A4-4087-45EA-A268-54B23812B1C4}" presName="Accent" presStyleLbl="trAlignAcc1" presStyleIdx="5" presStyleCnt="11">
        <dgm:presLayoutVars>
          <dgm:chMax val="0"/>
          <dgm:chPref val="0"/>
        </dgm:presLayoutVars>
      </dgm:prSet>
      <dgm:spPr>
        <a:xfrm>
          <a:off x="1621838" y="2200534"/>
          <a:ext cx="1381796" cy="1625642"/>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gm:spPr>
    </dgm:pt>
    <dgm:pt modelId="{F1F7367A-929B-4B87-BBC5-3BBF79050359}" type="pres">
      <dgm:prSet presAssocID="{E66E33A4-4087-45EA-A268-54B23812B1C4}" presName="Image" presStyleLbl="alignImgPlace1" presStyleIdx="5" presStyleCnt="11">
        <dgm:presLayoutVars>
          <dgm:chMax val="0"/>
          <dgm:chPref val="0"/>
        </dgm:presLayoutVars>
      </dgm:prSet>
      <dgm:spPr>
        <a:xfrm>
          <a:off x="1690928" y="2265560"/>
          <a:ext cx="1243616" cy="1056667"/>
        </a:xfrm>
        <a:prstGeom prst="rect">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l="-7000" r="-7000"/>
          </a:stretch>
        </a:blipFill>
        <a:ln w="12700" cap="flat" cmpd="sng" algn="ctr">
          <a:solidFill>
            <a:sysClr val="window" lastClr="FFFFFF">
              <a:hueOff val="0"/>
              <a:satOff val="0"/>
              <a:lumOff val="0"/>
              <a:alphaOff val="0"/>
            </a:sysClr>
          </a:solidFill>
          <a:prstDash val="solid"/>
          <a:miter lim="800000"/>
        </a:ln>
        <a:effectLst/>
      </dgm:spPr>
    </dgm:pt>
    <dgm:pt modelId="{80316066-8129-4BFC-A0AC-51C74AA8DB79}" type="pres">
      <dgm:prSet presAssocID="{E66E33A4-4087-45EA-A268-54B23812B1C4}" presName="ChildComposite" presStyleCnt="0"/>
      <dgm:spPr/>
    </dgm:pt>
    <dgm:pt modelId="{BC2EA5E4-AFD2-40E2-927C-9ABB1151C431}" type="pres">
      <dgm:prSet presAssocID="{E66E33A4-4087-45EA-A268-54B23812B1C4}" presName="Child" presStyleLbl="node1" presStyleIdx="0" presStyleCnt="0">
        <dgm:presLayoutVars>
          <dgm:chMax val="0"/>
          <dgm:chPref val="0"/>
          <dgm:bulletEnabled val="1"/>
        </dgm:presLayoutVars>
      </dgm:prSet>
      <dgm:spPr/>
    </dgm:pt>
    <dgm:pt modelId="{25B42301-E09B-4090-AA74-BB12FC91ED04}" type="pres">
      <dgm:prSet presAssocID="{E66E33A4-4087-45EA-A268-54B23812B1C4}" presName="Parent" presStyleLbl="revTx" presStyleIdx="5" presStyleCnt="11">
        <dgm:presLayoutVars>
          <dgm:chMax val="1"/>
          <dgm:chPref val="0"/>
          <dgm:bulletEnabled val="1"/>
        </dgm:presLayoutVars>
      </dgm:prSet>
      <dgm:spPr/>
    </dgm:pt>
    <dgm:pt modelId="{AA336226-460B-4339-AA81-B4CE34606ACD}" type="pres">
      <dgm:prSet presAssocID="{80BC9988-63FF-4377-9B99-2210660B1714}" presName="sibTrans" presStyleCnt="0"/>
      <dgm:spPr/>
    </dgm:pt>
    <dgm:pt modelId="{95317B5A-283D-4AD0-92EB-9ED878305309}" type="pres">
      <dgm:prSet presAssocID="{0C2E214A-7DE2-4196-BA55-B1EEC0E84F73}" presName="composite" presStyleCnt="0">
        <dgm:presLayoutVars>
          <dgm:chMax val="1"/>
          <dgm:chPref val="1"/>
        </dgm:presLayoutVars>
      </dgm:prSet>
      <dgm:spPr/>
    </dgm:pt>
    <dgm:pt modelId="{81F4000D-BC49-479D-BE26-9261EC8CD8FF}" type="pres">
      <dgm:prSet presAssocID="{0C2E214A-7DE2-4196-BA55-B1EEC0E84F73}" presName="Accent" presStyleLbl="trAlignAcc1" presStyleIdx="6" presStyleCnt="11">
        <dgm:presLayoutVars>
          <dgm:chMax val="0"/>
          <dgm:chPref val="0"/>
        </dgm:presLayoutVars>
      </dgm:prSet>
      <dgm:spPr>
        <a:xfrm>
          <a:off x="3241803" y="2200534"/>
          <a:ext cx="1381796" cy="1625642"/>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gm:spPr>
    </dgm:pt>
    <dgm:pt modelId="{D0C27637-A298-4DBE-9937-743E0E6BD280}" type="pres">
      <dgm:prSet presAssocID="{0C2E214A-7DE2-4196-BA55-B1EEC0E84F73}" presName="Image" presStyleLbl="alignImgPlace1" presStyleIdx="6" presStyleCnt="11">
        <dgm:presLayoutVars>
          <dgm:chMax val="0"/>
          <dgm:chPref val="0"/>
        </dgm:presLayoutVars>
      </dgm:prSet>
      <dgm:spPr>
        <a:xfrm>
          <a:off x="3310892" y="2265560"/>
          <a:ext cx="1243616" cy="1056667"/>
        </a:xfrm>
        <a:prstGeom prst="rect">
          <a:avLst/>
        </a:prstGeom>
        <a:blipFill>
          <a:blip xmlns:r="http://schemas.openxmlformats.org/officeDocument/2006/relationships" r:embed="rId7">
            <a:extLst>
              <a:ext uri="{28A0092B-C50C-407E-A947-70E740481C1C}">
                <a14:useLocalDpi xmlns:a14="http://schemas.microsoft.com/office/drawing/2010/main" val="0"/>
              </a:ext>
            </a:extLst>
          </a:blip>
          <a:srcRect/>
          <a:stretch>
            <a:fillRect l="-40000" r="-40000"/>
          </a:stretch>
        </a:blipFill>
        <a:ln w="12700" cap="flat" cmpd="sng" algn="ctr">
          <a:solidFill>
            <a:sysClr val="window" lastClr="FFFFFF">
              <a:hueOff val="0"/>
              <a:satOff val="0"/>
              <a:lumOff val="0"/>
              <a:alphaOff val="0"/>
            </a:sysClr>
          </a:solidFill>
          <a:prstDash val="solid"/>
          <a:miter lim="800000"/>
        </a:ln>
        <a:effectLst/>
      </dgm:spPr>
    </dgm:pt>
    <dgm:pt modelId="{73A1F18E-15D1-4785-8FB6-D92EBD33381D}" type="pres">
      <dgm:prSet presAssocID="{0C2E214A-7DE2-4196-BA55-B1EEC0E84F73}" presName="ChildComposite" presStyleCnt="0"/>
      <dgm:spPr/>
    </dgm:pt>
    <dgm:pt modelId="{A5287A1F-F5CB-4774-AEE4-6E5E0AD149CF}" type="pres">
      <dgm:prSet presAssocID="{0C2E214A-7DE2-4196-BA55-B1EEC0E84F73}" presName="Child" presStyleLbl="node1" presStyleIdx="0" presStyleCnt="0">
        <dgm:presLayoutVars>
          <dgm:chMax val="0"/>
          <dgm:chPref val="0"/>
          <dgm:bulletEnabled val="1"/>
        </dgm:presLayoutVars>
      </dgm:prSet>
      <dgm:spPr/>
    </dgm:pt>
    <dgm:pt modelId="{B8BD2788-FD3E-483A-83F6-09D57EA09A9C}" type="pres">
      <dgm:prSet presAssocID="{0C2E214A-7DE2-4196-BA55-B1EEC0E84F73}" presName="Parent" presStyleLbl="revTx" presStyleIdx="6" presStyleCnt="11">
        <dgm:presLayoutVars>
          <dgm:chMax val="1"/>
          <dgm:chPref val="0"/>
          <dgm:bulletEnabled val="1"/>
        </dgm:presLayoutVars>
      </dgm:prSet>
      <dgm:spPr/>
    </dgm:pt>
    <dgm:pt modelId="{CADB0C16-BDBC-4058-BED5-BBF99FE9501D}" type="pres">
      <dgm:prSet presAssocID="{C3B95012-6CE8-447A-91FC-E88CBB53EA79}" presName="sibTrans" presStyleCnt="0"/>
      <dgm:spPr/>
    </dgm:pt>
    <dgm:pt modelId="{FB7B2D6C-EDC4-4189-893B-A970B3B8DB3A}" type="pres">
      <dgm:prSet presAssocID="{C67ABA7A-F117-462A-BA3D-78332E909A88}" presName="composite" presStyleCnt="0">
        <dgm:presLayoutVars>
          <dgm:chMax val="1"/>
          <dgm:chPref val="1"/>
        </dgm:presLayoutVars>
      </dgm:prSet>
      <dgm:spPr/>
    </dgm:pt>
    <dgm:pt modelId="{4480FDDA-67C4-4486-9BD7-0ED10CD4EE7F}" type="pres">
      <dgm:prSet presAssocID="{C67ABA7A-F117-462A-BA3D-78332E909A88}" presName="Accent" presStyleLbl="trAlignAcc1" presStyleIdx="7" presStyleCnt="11">
        <dgm:presLayoutVars>
          <dgm:chMax val="0"/>
          <dgm:chPref val="0"/>
        </dgm:presLayoutVars>
      </dgm:prSet>
      <dgm:spPr/>
    </dgm:pt>
    <dgm:pt modelId="{78C8C2A8-04D0-4F8F-A76F-D8D8985AF189}" type="pres">
      <dgm:prSet presAssocID="{C67ABA7A-F117-462A-BA3D-78332E909A88}" presName="Image" presStyleLbl="alignImgPlace1" presStyleIdx="7" presStyleCnt="11">
        <dgm:presLayoutVars>
          <dgm:chMax val="0"/>
          <dgm:chPref val="0"/>
        </dgm:presLayoutVars>
      </dgm:prSet>
      <dgm:spPr>
        <a:blipFill>
          <a:blip xmlns:r="http://schemas.openxmlformats.org/officeDocument/2006/relationships" r:embed="rId8">
            <a:extLst>
              <a:ext uri="{28A0092B-C50C-407E-A947-70E740481C1C}">
                <a14:useLocalDpi xmlns:a14="http://schemas.microsoft.com/office/drawing/2010/main" val="0"/>
              </a:ext>
            </a:extLst>
          </a:blip>
          <a:srcRect/>
          <a:stretch>
            <a:fillRect l="-14000" r="-14000"/>
          </a:stretch>
        </a:blipFill>
      </dgm:spPr>
    </dgm:pt>
    <dgm:pt modelId="{3F14C8BB-0E02-48F1-A245-077F3D0DBA04}" type="pres">
      <dgm:prSet presAssocID="{C67ABA7A-F117-462A-BA3D-78332E909A88}" presName="ChildComposite" presStyleCnt="0"/>
      <dgm:spPr/>
    </dgm:pt>
    <dgm:pt modelId="{934EE2B6-87A6-482D-8C71-E27F8D0357DD}" type="pres">
      <dgm:prSet presAssocID="{C67ABA7A-F117-462A-BA3D-78332E909A88}" presName="Child" presStyleLbl="node1" presStyleIdx="0" presStyleCnt="0">
        <dgm:presLayoutVars>
          <dgm:chMax val="0"/>
          <dgm:chPref val="0"/>
          <dgm:bulletEnabled val="1"/>
        </dgm:presLayoutVars>
      </dgm:prSet>
      <dgm:spPr/>
    </dgm:pt>
    <dgm:pt modelId="{1CE10C51-DEF0-4666-86E3-0FE8D48F9801}" type="pres">
      <dgm:prSet presAssocID="{C67ABA7A-F117-462A-BA3D-78332E909A88}" presName="Parent" presStyleLbl="revTx" presStyleIdx="7" presStyleCnt="11">
        <dgm:presLayoutVars>
          <dgm:chMax val="1"/>
          <dgm:chPref val="0"/>
          <dgm:bulletEnabled val="1"/>
        </dgm:presLayoutVars>
      </dgm:prSet>
      <dgm:spPr>
        <a:prstGeom prst="rect">
          <a:avLst/>
        </a:prstGeom>
      </dgm:spPr>
    </dgm:pt>
    <dgm:pt modelId="{F238E777-9D08-4A97-9004-4CB6D8232821}" type="pres">
      <dgm:prSet presAssocID="{C0A2FFE9-6B60-4B66-808B-E52D1A7C5FA3}" presName="sibTrans" presStyleCnt="0"/>
      <dgm:spPr/>
    </dgm:pt>
    <dgm:pt modelId="{52FB2638-3A67-420E-B9EE-D3B487421081}" type="pres">
      <dgm:prSet presAssocID="{47292F13-FFEA-4608-BAEF-7C21C65F4D96}" presName="composite" presStyleCnt="0">
        <dgm:presLayoutVars>
          <dgm:chMax val="1"/>
          <dgm:chPref val="1"/>
        </dgm:presLayoutVars>
      </dgm:prSet>
      <dgm:spPr/>
    </dgm:pt>
    <dgm:pt modelId="{494975D0-F565-43C2-A702-5C0A18C3F707}" type="pres">
      <dgm:prSet presAssocID="{47292F13-FFEA-4608-BAEF-7C21C65F4D96}" presName="Accent" presStyleLbl="trAlignAcc1" presStyleIdx="8" presStyleCnt="11">
        <dgm:presLayoutVars>
          <dgm:chMax val="0"/>
          <dgm:chPref val="0"/>
        </dgm:presLayoutVars>
      </dgm:prSet>
      <dgm:spPr>
        <a:xfrm>
          <a:off x="4861767" y="2200534"/>
          <a:ext cx="1381796" cy="1625642"/>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gm:spPr>
    </dgm:pt>
    <dgm:pt modelId="{8D55FBBE-7FCB-43A3-AE05-701CD31E1E49}" type="pres">
      <dgm:prSet presAssocID="{47292F13-FFEA-4608-BAEF-7C21C65F4D96}" presName="Image" presStyleLbl="alignImgPlace1" presStyleIdx="8" presStyleCnt="11">
        <dgm:presLayoutVars>
          <dgm:chMax val="0"/>
          <dgm:chPref val="0"/>
        </dgm:presLayoutVars>
      </dgm:prSet>
      <dgm:spPr>
        <a:xfrm>
          <a:off x="4930857" y="2265560"/>
          <a:ext cx="1243616" cy="1056667"/>
        </a:xfrm>
        <a:prstGeom prst="rect">
          <a:avLst/>
        </a:prstGeom>
        <a:blipFill>
          <a:blip xmlns:r="http://schemas.openxmlformats.org/officeDocument/2006/relationships" r:embed="rId9">
            <a:extLst>
              <a:ext uri="{28A0092B-C50C-407E-A947-70E740481C1C}">
                <a14:useLocalDpi xmlns:a14="http://schemas.microsoft.com/office/drawing/2010/main" val="0"/>
              </a:ext>
            </a:extLst>
          </a:blip>
          <a:srcRect/>
          <a:stretch>
            <a:fillRect l="-33000" r="-33000"/>
          </a:stretch>
        </a:blipFill>
        <a:ln w="12700" cap="flat" cmpd="sng" algn="ctr">
          <a:solidFill>
            <a:sysClr val="window" lastClr="FFFFFF">
              <a:hueOff val="0"/>
              <a:satOff val="0"/>
              <a:lumOff val="0"/>
              <a:alphaOff val="0"/>
            </a:sysClr>
          </a:solidFill>
          <a:prstDash val="solid"/>
          <a:miter lim="800000"/>
        </a:ln>
        <a:effectLst/>
      </dgm:spPr>
    </dgm:pt>
    <dgm:pt modelId="{3FD5664D-CEC5-4576-B11D-FE52484241EB}" type="pres">
      <dgm:prSet presAssocID="{47292F13-FFEA-4608-BAEF-7C21C65F4D96}" presName="ChildComposite" presStyleCnt="0"/>
      <dgm:spPr/>
    </dgm:pt>
    <dgm:pt modelId="{9A89D83F-69EB-4BD0-A587-DF883B9A299C}" type="pres">
      <dgm:prSet presAssocID="{47292F13-FFEA-4608-BAEF-7C21C65F4D96}" presName="Child" presStyleLbl="node1" presStyleIdx="0" presStyleCnt="0">
        <dgm:presLayoutVars>
          <dgm:chMax val="0"/>
          <dgm:chPref val="0"/>
          <dgm:bulletEnabled val="1"/>
        </dgm:presLayoutVars>
      </dgm:prSet>
      <dgm:spPr/>
    </dgm:pt>
    <dgm:pt modelId="{1FA7FD1A-76EA-4F02-84FB-2F2DAA3526D9}" type="pres">
      <dgm:prSet presAssocID="{47292F13-FFEA-4608-BAEF-7C21C65F4D96}" presName="Parent" presStyleLbl="revTx" presStyleIdx="8" presStyleCnt="11">
        <dgm:presLayoutVars>
          <dgm:chMax val="1"/>
          <dgm:chPref val="0"/>
          <dgm:bulletEnabled val="1"/>
        </dgm:presLayoutVars>
      </dgm:prSet>
      <dgm:spPr/>
    </dgm:pt>
    <dgm:pt modelId="{872F456C-A3AC-4C52-B782-CA613FBCADED}" type="pres">
      <dgm:prSet presAssocID="{E33AA9EC-55E9-49FB-A2F3-14FD42235E4E}" presName="sibTrans" presStyleCnt="0"/>
      <dgm:spPr/>
    </dgm:pt>
    <dgm:pt modelId="{F9160448-FCE6-4A7D-B5E5-36AD257E32D2}" type="pres">
      <dgm:prSet presAssocID="{F255030F-877D-4D98-BC3A-FEE2F7BB389A}" presName="composite" presStyleCnt="0">
        <dgm:presLayoutVars>
          <dgm:chMax val="1"/>
          <dgm:chPref val="1"/>
        </dgm:presLayoutVars>
      </dgm:prSet>
      <dgm:spPr/>
    </dgm:pt>
    <dgm:pt modelId="{8312DF5A-6374-45C7-BBC1-73EC253621E4}" type="pres">
      <dgm:prSet presAssocID="{F255030F-877D-4D98-BC3A-FEE2F7BB389A}" presName="Accent" presStyleLbl="trAlignAcc1" presStyleIdx="9" presStyleCnt="11">
        <dgm:presLayoutVars>
          <dgm:chMax val="0"/>
          <dgm:chPref val="0"/>
        </dgm:presLayoutVars>
      </dgm:prSet>
      <dgm:spPr/>
    </dgm:pt>
    <dgm:pt modelId="{5F5B564E-95B0-47B5-8AD9-CC0972A89BAA}" type="pres">
      <dgm:prSet presAssocID="{F255030F-877D-4D98-BC3A-FEE2F7BB389A}" presName="Image" presStyleLbl="alignImgPlace1" presStyleIdx="9" presStyleCnt="11">
        <dgm:presLayoutVars>
          <dgm:chMax val="0"/>
          <dgm:chPref val="0"/>
        </dgm:presLayoutVars>
      </dgm:prSet>
      <dgm:spPr>
        <a:blipFill>
          <a:blip xmlns:r="http://schemas.openxmlformats.org/officeDocument/2006/relationships" r:embed="rId10">
            <a:extLst>
              <a:ext uri="{28A0092B-C50C-407E-A947-70E740481C1C}">
                <a14:useLocalDpi xmlns:a14="http://schemas.microsoft.com/office/drawing/2010/main" val="0"/>
              </a:ext>
            </a:extLst>
          </a:blip>
          <a:srcRect/>
          <a:stretch>
            <a:fillRect l="-21000" r="-21000"/>
          </a:stretch>
        </a:blipFill>
      </dgm:spPr>
    </dgm:pt>
    <dgm:pt modelId="{C1C3BB7E-0D77-4FD1-B212-FA59068AA327}" type="pres">
      <dgm:prSet presAssocID="{F255030F-877D-4D98-BC3A-FEE2F7BB389A}" presName="ChildComposite" presStyleCnt="0"/>
      <dgm:spPr/>
    </dgm:pt>
    <dgm:pt modelId="{A6F0C7D3-C494-4946-9B1E-8CA3201BDFE9}" type="pres">
      <dgm:prSet presAssocID="{F255030F-877D-4D98-BC3A-FEE2F7BB389A}" presName="Child" presStyleLbl="node1" presStyleIdx="0" presStyleCnt="0">
        <dgm:presLayoutVars>
          <dgm:chMax val="0"/>
          <dgm:chPref val="0"/>
          <dgm:bulletEnabled val="1"/>
        </dgm:presLayoutVars>
      </dgm:prSet>
      <dgm:spPr/>
    </dgm:pt>
    <dgm:pt modelId="{BD3ABDFA-7752-4CB9-B279-9F9355C3D6F2}" type="pres">
      <dgm:prSet presAssocID="{F255030F-877D-4D98-BC3A-FEE2F7BB389A}" presName="Parent" presStyleLbl="revTx" presStyleIdx="9" presStyleCnt="11">
        <dgm:presLayoutVars>
          <dgm:chMax val="1"/>
          <dgm:chPref val="0"/>
          <dgm:bulletEnabled val="1"/>
        </dgm:presLayoutVars>
      </dgm:prSet>
      <dgm:spPr>
        <a:prstGeom prst="rect">
          <a:avLst/>
        </a:prstGeom>
      </dgm:spPr>
    </dgm:pt>
    <dgm:pt modelId="{A27117BD-9216-47D3-BF26-A73A26BF7AFB}" type="pres">
      <dgm:prSet presAssocID="{47EB3F3F-4022-4575-A99D-6ACDF6B7B778}" presName="sibTrans" presStyleCnt="0"/>
      <dgm:spPr/>
    </dgm:pt>
    <dgm:pt modelId="{CC7BD828-08F5-4A66-ADB1-3DE87674093C}" type="pres">
      <dgm:prSet presAssocID="{08F924C5-7BD0-4FC7-B5F6-7D30101B2D47}" presName="composite" presStyleCnt="0">
        <dgm:presLayoutVars>
          <dgm:chMax val="1"/>
          <dgm:chPref val="1"/>
        </dgm:presLayoutVars>
      </dgm:prSet>
      <dgm:spPr/>
    </dgm:pt>
    <dgm:pt modelId="{CB70070E-B242-4672-856E-ACD6715BA718}" type="pres">
      <dgm:prSet presAssocID="{08F924C5-7BD0-4FC7-B5F6-7D30101B2D47}" presName="Accent" presStyleLbl="trAlignAcc1" presStyleIdx="10" presStyleCnt="11">
        <dgm:presLayoutVars>
          <dgm:chMax val="0"/>
          <dgm:chPref val="0"/>
        </dgm:presLayoutVars>
      </dgm:prSet>
      <dgm:spPr/>
    </dgm:pt>
    <dgm:pt modelId="{2E72E748-FFCA-4B7A-A640-CC9D3C4215F4}" type="pres">
      <dgm:prSet presAssocID="{08F924C5-7BD0-4FC7-B5F6-7D30101B2D47}" presName="Image" presStyleLbl="alignImgPlace1" presStyleIdx="10" presStyleCnt="11">
        <dgm:presLayoutVars>
          <dgm:chMax val="0"/>
          <dgm:chPref val="0"/>
        </dgm:presLayoutVars>
      </dgm:prSet>
      <dgm:spPr>
        <a:blipFill>
          <a:blip xmlns:r="http://schemas.openxmlformats.org/officeDocument/2006/relationships" r:embed="rId11"/>
          <a:srcRect/>
          <a:stretch>
            <a:fillRect l="-35000" r="-35000"/>
          </a:stretch>
        </a:blipFill>
      </dgm:spPr>
    </dgm:pt>
    <dgm:pt modelId="{DCEFAA45-74A6-4DA3-920D-18E770FBB324}" type="pres">
      <dgm:prSet presAssocID="{08F924C5-7BD0-4FC7-B5F6-7D30101B2D47}" presName="ChildComposite" presStyleCnt="0"/>
      <dgm:spPr/>
    </dgm:pt>
    <dgm:pt modelId="{C7B0DFC2-8423-4C54-8080-F8D2C7892C32}" type="pres">
      <dgm:prSet presAssocID="{08F924C5-7BD0-4FC7-B5F6-7D30101B2D47}" presName="Child" presStyleLbl="node1" presStyleIdx="0" presStyleCnt="0">
        <dgm:presLayoutVars>
          <dgm:chMax val="0"/>
          <dgm:chPref val="0"/>
          <dgm:bulletEnabled val="1"/>
        </dgm:presLayoutVars>
      </dgm:prSet>
      <dgm:spPr/>
    </dgm:pt>
    <dgm:pt modelId="{4961F012-4BB3-461A-BC84-58A32ADBD740}" type="pres">
      <dgm:prSet presAssocID="{08F924C5-7BD0-4FC7-B5F6-7D30101B2D47}" presName="Parent" presStyleLbl="revTx" presStyleIdx="10" presStyleCnt="11">
        <dgm:presLayoutVars>
          <dgm:chMax val="1"/>
          <dgm:chPref val="0"/>
          <dgm:bulletEnabled val="1"/>
        </dgm:presLayoutVars>
      </dgm:prSet>
      <dgm:spPr/>
    </dgm:pt>
  </dgm:ptLst>
  <dgm:cxnLst>
    <dgm:cxn modelId="{43AAAD0E-88B0-4705-BDEC-C764AF1545E5}" type="presOf" srcId="{C67ABA7A-F117-462A-BA3D-78332E909A88}" destId="{1CE10C51-DEF0-4666-86E3-0FE8D48F9801}" srcOrd="0" destOrd="0" presId="urn:microsoft.com/office/officeart/2008/layout/CaptionedPictures"/>
    <dgm:cxn modelId="{0EF73816-57AF-4DE6-A7CB-5C5258F61AC1}" srcId="{DBC10E05-19CF-491C-A77D-E7387BA54212}" destId="{DF2B2E8F-87BA-4AA2-9BC9-2943E2EA3531}" srcOrd="3" destOrd="0" parTransId="{D0460599-4322-4A70-8429-58D5C3C92DEB}" sibTransId="{FA5FD4D2-5F9A-400B-9258-281B6DF9B400}"/>
    <dgm:cxn modelId="{72A31A1D-4C46-47BF-A998-E13BB9C1B211}" srcId="{DBC10E05-19CF-491C-A77D-E7387BA54212}" destId="{01D907B9-FAF4-46C7-BC9A-A30DBEB45620}" srcOrd="0" destOrd="0" parTransId="{C7D70A03-6CC3-4D88-B7DF-A173774C9D93}" sibTransId="{C95C4073-F18A-40B4-BC69-AB092BE23F8F}"/>
    <dgm:cxn modelId="{1A18BC2F-D046-4C57-8F81-6F645E07F13E}" type="presOf" srcId="{01D907B9-FAF4-46C7-BC9A-A30DBEB45620}" destId="{D4D73926-EFA5-4688-81D0-001C8D621E98}" srcOrd="0" destOrd="0" presId="urn:microsoft.com/office/officeart/2008/layout/CaptionedPictures"/>
    <dgm:cxn modelId="{B8DA9238-DB23-45B4-A199-5E450480B157}" type="presOf" srcId="{E66E33A4-4087-45EA-A268-54B23812B1C4}" destId="{25B42301-E09B-4090-AA74-BB12FC91ED04}" srcOrd="0" destOrd="0" presId="urn:microsoft.com/office/officeart/2008/layout/CaptionedPictures"/>
    <dgm:cxn modelId="{AD9D1F5C-A5D9-4EDE-8A7B-66299E6608AE}" srcId="{DBC10E05-19CF-491C-A77D-E7387BA54212}" destId="{E66E33A4-4087-45EA-A268-54B23812B1C4}" srcOrd="5" destOrd="0" parTransId="{618B9661-268B-47E3-9899-3D4E9D78F090}" sibTransId="{80BC9988-63FF-4377-9B99-2210660B1714}"/>
    <dgm:cxn modelId="{359B7E46-6326-4C42-8617-94956F067E4D}" srcId="{DBC10E05-19CF-491C-A77D-E7387BA54212}" destId="{0DB86D71-F915-4FAA-873F-2035832E56D6}" srcOrd="1" destOrd="0" parTransId="{0B7CF242-9B19-43CA-97DF-9FF7CFC1214A}" sibTransId="{61DBB552-2E6F-45DA-9047-4040920B9973}"/>
    <dgm:cxn modelId="{326AE669-B9CF-466D-9FA5-A771F7331F8B}" type="presOf" srcId="{1B58784B-1B26-43F3-AB3F-B93C3E7D7588}" destId="{23E08D0D-9E9E-42F1-BDC7-376146A4130C}" srcOrd="0" destOrd="0" presId="urn:microsoft.com/office/officeart/2008/layout/CaptionedPictures"/>
    <dgm:cxn modelId="{D0DF5055-194D-4484-934F-E62895A404BC}" srcId="{DBC10E05-19CF-491C-A77D-E7387BA54212}" destId="{C67ABA7A-F117-462A-BA3D-78332E909A88}" srcOrd="7" destOrd="0" parTransId="{9F7F007C-BFBE-42FD-96D2-E97F3698DF9D}" sibTransId="{C0A2FFE9-6B60-4B66-808B-E52D1A7C5FA3}"/>
    <dgm:cxn modelId="{E9F2A67E-B01C-4CF0-B63E-B09DBDC8C028}" srcId="{DBC10E05-19CF-491C-A77D-E7387BA54212}" destId="{47292F13-FFEA-4608-BAEF-7C21C65F4D96}" srcOrd="8" destOrd="0" parTransId="{F96579BB-BE94-4897-A9C7-1C85B8E66BD7}" sibTransId="{E33AA9EC-55E9-49FB-A2F3-14FD42235E4E}"/>
    <dgm:cxn modelId="{CE72A98A-31F3-4564-8F68-9D4DDBB78A7D}" type="presOf" srcId="{DF2B2E8F-87BA-4AA2-9BC9-2943E2EA3531}" destId="{01C1FE2C-9A3E-4C37-8405-2785CE1D1F40}" srcOrd="0" destOrd="0" presId="urn:microsoft.com/office/officeart/2008/layout/CaptionedPictures"/>
    <dgm:cxn modelId="{6BB6018C-EE2F-4B8F-8E54-0E89B74AB459}" type="presOf" srcId="{33DA7E00-3A42-44E8-9BD3-752CAAC63B6A}" destId="{0BEB9351-A264-45DB-8613-A0EDF36A7B32}" srcOrd="0" destOrd="0" presId="urn:microsoft.com/office/officeart/2008/layout/CaptionedPictures"/>
    <dgm:cxn modelId="{EB686D95-2F4F-4F07-8F19-9FE22EEB5913}" srcId="{DBC10E05-19CF-491C-A77D-E7387BA54212}" destId="{1B58784B-1B26-43F3-AB3F-B93C3E7D7588}" srcOrd="2" destOrd="0" parTransId="{5F4E5AEC-CE79-4880-8687-968809E8BA17}" sibTransId="{CE85F984-8491-485F-95C3-F06E8274249D}"/>
    <dgm:cxn modelId="{D3ADF3A1-4A9A-49AE-B0FC-397E9C72AFCA}" srcId="{DBC10E05-19CF-491C-A77D-E7387BA54212}" destId="{0C2E214A-7DE2-4196-BA55-B1EEC0E84F73}" srcOrd="6" destOrd="0" parTransId="{2192F35F-479A-4449-9ACC-553C23C00CB5}" sibTransId="{C3B95012-6CE8-447A-91FC-E88CBB53EA79}"/>
    <dgm:cxn modelId="{654A88AC-0ECA-427F-84DD-1769D499EDB9}" srcId="{DBC10E05-19CF-491C-A77D-E7387BA54212}" destId="{F255030F-877D-4D98-BC3A-FEE2F7BB389A}" srcOrd="9" destOrd="0" parTransId="{768377C8-A985-42DE-A021-468608B29C32}" sibTransId="{47EB3F3F-4022-4575-A99D-6ACDF6B7B778}"/>
    <dgm:cxn modelId="{336517B0-2A6D-45A2-AF22-F037E09E4494}" srcId="{DBC10E05-19CF-491C-A77D-E7387BA54212}" destId="{08F924C5-7BD0-4FC7-B5F6-7D30101B2D47}" srcOrd="10" destOrd="0" parTransId="{FC8E7D74-9EB4-4EDB-B8BE-903F91E6C563}" sibTransId="{C5A5E35D-E48D-4437-9119-69D049689DE1}"/>
    <dgm:cxn modelId="{3328AFB8-936F-4550-8A03-D8D550551882}" type="presOf" srcId="{DBC10E05-19CF-491C-A77D-E7387BA54212}" destId="{A07185A3-7A60-4E03-8F5D-8F7E43E7AC72}" srcOrd="0" destOrd="0" presId="urn:microsoft.com/office/officeart/2008/layout/CaptionedPictures"/>
    <dgm:cxn modelId="{289E88BC-2912-4F90-B673-B95392632622}" type="presOf" srcId="{0DB86D71-F915-4FAA-873F-2035832E56D6}" destId="{E75F6679-1F70-488A-A11E-3C4B74342553}" srcOrd="0" destOrd="0" presId="urn:microsoft.com/office/officeart/2008/layout/CaptionedPictures"/>
    <dgm:cxn modelId="{4291FCD5-953C-4D37-BAFC-36867EBD89BA}" type="presOf" srcId="{47292F13-FFEA-4608-BAEF-7C21C65F4D96}" destId="{1FA7FD1A-76EA-4F02-84FB-2F2DAA3526D9}" srcOrd="0" destOrd="0" presId="urn:microsoft.com/office/officeart/2008/layout/CaptionedPictures"/>
    <dgm:cxn modelId="{627638D7-4966-426D-8A08-0DFAB3BCB466}" type="presOf" srcId="{08F924C5-7BD0-4FC7-B5F6-7D30101B2D47}" destId="{4961F012-4BB3-461A-BC84-58A32ADBD740}" srcOrd="0" destOrd="0" presId="urn:microsoft.com/office/officeart/2008/layout/CaptionedPictures"/>
    <dgm:cxn modelId="{E81C25DE-5B07-4A9E-9365-B397D1C4ED67}" srcId="{DBC10E05-19CF-491C-A77D-E7387BA54212}" destId="{33DA7E00-3A42-44E8-9BD3-752CAAC63B6A}" srcOrd="4" destOrd="0" parTransId="{45C27919-A7D5-4055-82F7-40B40C030CF2}" sibTransId="{A712B85D-A959-438C-ADF6-54EFBE62AD27}"/>
    <dgm:cxn modelId="{77FA0FEB-BAB3-4B36-BA71-927C4A25C230}" type="presOf" srcId="{F255030F-877D-4D98-BC3A-FEE2F7BB389A}" destId="{BD3ABDFA-7752-4CB9-B279-9F9355C3D6F2}" srcOrd="0" destOrd="0" presId="urn:microsoft.com/office/officeart/2008/layout/CaptionedPictures"/>
    <dgm:cxn modelId="{223708F1-ECCC-4BB5-B93F-DE2BBFA642BA}" type="presOf" srcId="{0C2E214A-7DE2-4196-BA55-B1EEC0E84F73}" destId="{B8BD2788-FD3E-483A-83F6-09D57EA09A9C}" srcOrd="0" destOrd="0" presId="urn:microsoft.com/office/officeart/2008/layout/CaptionedPictures"/>
    <dgm:cxn modelId="{445098A7-9118-41FC-AF10-81E1E6800076}" type="presParOf" srcId="{A07185A3-7A60-4E03-8F5D-8F7E43E7AC72}" destId="{1762133C-BEA1-4B27-8C3B-4438093B4FB3}" srcOrd="0" destOrd="0" presId="urn:microsoft.com/office/officeart/2008/layout/CaptionedPictures"/>
    <dgm:cxn modelId="{5809517C-A2E8-4D18-A304-795C8FDE24B9}" type="presParOf" srcId="{1762133C-BEA1-4B27-8C3B-4438093B4FB3}" destId="{747F35AA-F7F9-416D-A4F3-235663FA61CD}" srcOrd="0" destOrd="0" presId="urn:microsoft.com/office/officeart/2008/layout/CaptionedPictures"/>
    <dgm:cxn modelId="{B96F0FB6-B4DF-4FA8-B872-FCAED53C3EB6}" type="presParOf" srcId="{1762133C-BEA1-4B27-8C3B-4438093B4FB3}" destId="{FF73ECE6-1C57-49C1-84CB-5F2CC4EA4EB7}" srcOrd="1" destOrd="0" presId="urn:microsoft.com/office/officeart/2008/layout/CaptionedPictures"/>
    <dgm:cxn modelId="{6D7DEB89-0F8F-46F5-8AC0-57DADB052D9B}" type="presParOf" srcId="{1762133C-BEA1-4B27-8C3B-4438093B4FB3}" destId="{8D0F3E51-03CD-4615-8FE9-8AC10F783121}" srcOrd="2" destOrd="0" presId="urn:microsoft.com/office/officeart/2008/layout/CaptionedPictures"/>
    <dgm:cxn modelId="{28C6958F-C3BA-45F5-8456-7BC00B5843DB}" type="presParOf" srcId="{8D0F3E51-03CD-4615-8FE9-8AC10F783121}" destId="{476F297B-6A3C-4F04-BC79-BAE2787664D0}" srcOrd="0" destOrd="0" presId="urn:microsoft.com/office/officeart/2008/layout/CaptionedPictures"/>
    <dgm:cxn modelId="{8C3C5F18-8FBF-494B-8ADD-35A836E95C92}" type="presParOf" srcId="{8D0F3E51-03CD-4615-8FE9-8AC10F783121}" destId="{D4D73926-EFA5-4688-81D0-001C8D621E98}" srcOrd="1" destOrd="0" presId="urn:microsoft.com/office/officeart/2008/layout/CaptionedPictures"/>
    <dgm:cxn modelId="{6936B65D-EC2D-49A2-B218-5D28B3F03135}" type="presParOf" srcId="{A07185A3-7A60-4E03-8F5D-8F7E43E7AC72}" destId="{31DE4013-63CB-4AC4-A7E4-0F1E0BEE26FF}" srcOrd="1" destOrd="0" presId="urn:microsoft.com/office/officeart/2008/layout/CaptionedPictures"/>
    <dgm:cxn modelId="{E885BF09-C813-4543-A4FA-B78797A79866}" type="presParOf" srcId="{A07185A3-7A60-4E03-8F5D-8F7E43E7AC72}" destId="{C84A2F26-C404-4EA6-A0E4-DE91627B99EE}" srcOrd="2" destOrd="0" presId="urn:microsoft.com/office/officeart/2008/layout/CaptionedPictures"/>
    <dgm:cxn modelId="{794D5FE0-0845-4EF2-9F8F-49FB86478813}" type="presParOf" srcId="{C84A2F26-C404-4EA6-A0E4-DE91627B99EE}" destId="{9B265A07-7FEA-453A-98A9-0AFC37D8115E}" srcOrd="0" destOrd="0" presId="urn:microsoft.com/office/officeart/2008/layout/CaptionedPictures"/>
    <dgm:cxn modelId="{2B2ABF49-522D-4FC8-A4F5-EDD4DC4E974A}" type="presParOf" srcId="{C84A2F26-C404-4EA6-A0E4-DE91627B99EE}" destId="{59953825-12B2-4042-8F51-0C8A8C4DAECB}" srcOrd="1" destOrd="0" presId="urn:microsoft.com/office/officeart/2008/layout/CaptionedPictures"/>
    <dgm:cxn modelId="{662ED98B-5ACE-4A28-8F66-96D5F36C36C7}" type="presParOf" srcId="{C84A2F26-C404-4EA6-A0E4-DE91627B99EE}" destId="{4CC3B571-64C1-453F-B2B2-03623AEEEAA2}" srcOrd="2" destOrd="0" presId="urn:microsoft.com/office/officeart/2008/layout/CaptionedPictures"/>
    <dgm:cxn modelId="{B5B17EA6-293B-4294-BE0A-936E8BC2BE75}" type="presParOf" srcId="{4CC3B571-64C1-453F-B2B2-03623AEEEAA2}" destId="{D0AAD3CC-27B2-43A9-B1F9-A3455F380A4E}" srcOrd="0" destOrd="0" presId="urn:microsoft.com/office/officeart/2008/layout/CaptionedPictures"/>
    <dgm:cxn modelId="{AABA92F6-4A3C-4C09-993B-F2AB54BE2BC3}" type="presParOf" srcId="{4CC3B571-64C1-453F-B2B2-03623AEEEAA2}" destId="{E75F6679-1F70-488A-A11E-3C4B74342553}" srcOrd="1" destOrd="0" presId="urn:microsoft.com/office/officeart/2008/layout/CaptionedPictures"/>
    <dgm:cxn modelId="{21EEFDF9-CC35-45AD-993C-43B0285E9F98}" type="presParOf" srcId="{A07185A3-7A60-4E03-8F5D-8F7E43E7AC72}" destId="{0B6AC204-7AE2-4423-B42D-C1577A611607}" srcOrd="3" destOrd="0" presId="urn:microsoft.com/office/officeart/2008/layout/CaptionedPictures"/>
    <dgm:cxn modelId="{239316DC-5B51-430D-B6B5-4198F5894CEE}" type="presParOf" srcId="{A07185A3-7A60-4E03-8F5D-8F7E43E7AC72}" destId="{B2625025-B5DC-4A9B-A1F9-D390CBA03810}" srcOrd="4" destOrd="0" presId="urn:microsoft.com/office/officeart/2008/layout/CaptionedPictures"/>
    <dgm:cxn modelId="{086ACBDF-91E9-4ADD-808B-283866C78EFF}" type="presParOf" srcId="{B2625025-B5DC-4A9B-A1F9-D390CBA03810}" destId="{D6B89513-6923-44D5-B719-BF5FAEDA72FC}" srcOrd="0" destOrd="0" presId="urn:microsoft.com/office/officeart/2008/layout/CaptionedPictures"/>
    <dgm:cxn modelId="{38E604A5-1A11-481C-9517-228F13C03408}" type="presParOf" srcId="{B2625025-B5DC-4A9B-A1F9-D390CBA03810}" destId="{FB3B0D26-B3CE-440E-93D5-8996A6EF3E97}" srcOrd="1" destOrd="0" presId="urn:microsoft.com/office/officeart/2008/layout/CaptionedPictures"/>
    <dgm:cxn modelId="{99434E3B-BF3B-4B82-8DD0-7CA85C81197D}" type="presParOf" srcId="{B2625025-B5DC-4A9B-A1F9-D390CBA03810}" destId="{48A06F37-1599-4AF3-8EBE-35E7B550BE6A}" srcOrd="2" destOrd="0" presId="urn:microsoft.com/office/officeart/2008/layout/CaptionedPictures"/>
    <dgm:cxn modelId="{0B6012CC-4D46-4D27-B3D5-62094870CB31}" type="presParOf" srcId="{48A06F37-1599-4AF3-8EBE-35E7B550BE6A}" destId="{0852AF08-4EAD-4EF1-BD9D-9F659F4C482F}" srcOrd="0" destOrd="0" presId="urn:microsoft.com/office/officeart/2008/layout/CaptionedPictures"/>
    <dgm:cxn modelId="{9E656900-A5CD-47A5-977E-27F79AE61849}" type="presParOf" srcId="{48A06F37-1599-4AF3-8EBE-35E7B550BE6A}" destId="{23E08D0D-9E9E-42F1-BDC7-376146A4130C}" srcOrd="1" destOrd="0" presId="urn:microsoft.com/office/officeart/2008/layout/CaptionedPictures"/>
    <dgm:cxn modelId="{4BB1EF9D-60BC-4300-AA10-1227BAD39BB1}" type="presParOf" srcId="{A07185A3-7A60-4E03-8F5D-8F7E43E7AC72}" destId="{25DB3F9B-3F22-4E88-B2AF-79DA3035642D}" srcOrd="5" destOrd="0" presId="urn:microsoft.com/office/officeart/2008/layout/CaptionedPictures"/>
    <dgm:cxn modelId="{264BB742-48A2-4DEC-9A8E-AF0A6F76DE8D}" type="presParOf" srcId="{A07185A3-7A60-4E03-8F5D-8F7E43E7AC72}" destId="{3420B64F-BCA3-42D6-9584-B77FC5E49485}" srcOrd="6" destOrd="0" presId="urn:microsoft.com/office/officeart/2008/layout/CaptionedPictures"/>
    <dgm:cxn modelId="{57A47339-30D9-4005-8DF0-77692969017D}" type="presParOf" srcId="{3420B64F-BCA3-42D6-9584-B77FC5E49485}" destId="{363653F6-B1AC-4F95-8646-009AD15110B4}" srcOrd="0" destOrd="0" presId="urn:microsoft.com/office/officeart/2008/layout/CaptionedPictures"/>
    <dgm:cxn modelId="{F9FBAE59-51BB-4FF0-BDAC-C21DF01E84F4}" type="presParOf" srcId="{3420B64F-BCA3-42D6-9584-B77FC5E49485}" destId="{9D105708-EB49-4857-939A-B9CA99058E39}" srcOrd="1" destOrd="0" presId="urn:microsoft.com/office/officeart/2008/layout/CaptionedPictures"/>
    <dgm:cxn modelId="{06AF51F8-5866-4247-859F-42912EEE34FE}" type="presParOf" srcId="{3420B64F-BCA3-42D6-9584-B77FC5E49485}" destId="{F29DB666-8BA3-4B48-9912-4440D0A7A632}" srcOrd="2" destOrd="0" presId="urn:microsoft.com/office/officeart/2008/layout/CaptionedPictures"/>
    <dgm:cxn modelId="{B9C25B13-AD99-44FC-800C-02743F66F837}" type="presParOf" srcId="{F29DB666-8BA3-4B48-9912-4440D0A7A632}" destId="{E6437C11-FCBB-4029-9A4B-9C2CC4B7B357}" srcOrd="0" destOrd="0" presId="urn:microsoft.com/office/officeart/2008/layout/CaptionedPictures"/>
    <dgm:cxn modelId="{2D6AE168-D832-410B-86CC-33DDF1DEC040}" type="presParOf" srcId="{F29DB666-8BA3-4B48-9912-4440D0A7A632}" destId="{01C1FE2C-9A3E-4C37-8405-2785CE1D1F40}" srcOrd="1" destOrd="0" presId="urn:microsoft.com/office/officeart/2008/layout/CaptionedPictures"/>
    <dgm:cxn modelId="{49D0D80A-AADF-464A-BA6F-11C79D248C2D}" type="presParOf" srcId="{A07185A3-7A60-4E03-8F5D-8F7E43E7AC72}" destId="{5BB7FDFA-6CD8-4486-B487-85B4D84082B6}" srcOrd="7" destOrd="0" presId="urn:microsoft.com/office/officeart/2008/layout/CaptionedPictures"/>
    <dgm:cxn modelId="{11B2093F-BC60-4B45-8822-A1D75876B0AE}" type="presParOf" srcId="{A07185A3-7A60-4E03-8F5D-8F7E43E7AC72}" destId="{78C622E5-DC33-4B68-8DB8-3F44485BE413}" srcOrd="8" destOrd="0" presId="urn:microsoft.com/office/officeart/2008/layout/CaptionedPictures"/>
    <dgm:cxn modelId="{2A6935D1-3CCA-44DF-913B-5F7778D541E6}" type="presParOf" srcId="{78C622E5-DC33-4B68-8DB8-3F44485BE413}" destId="{DFE7AB6E-48BC-460D-B743-9ACF5C18959D}" srcOrd="0" destOrd="0" presId="urn:microsoft.com/office/officeart/2008/layout/CaptionedPictures"/>
    <dgm:cxn modelId="{B7214FCA-832A-413E-98AB-1331A1BDA8BC}" type="presParOf" srcId="{78C622E5-DC33-4B68-8DB8-3F44485BE413}" destId="{3825B25B-9A6A-4EC1-820F-56DCC27F1701}" srcOrd="1" destOrd="0" presId="urn:microsoft.com/office/officeart/2008/layout/CaptionedPictures"/>
    <dgm:cxn modelId="{B8A6CA44-2CAB-4F3E-AC3F-B9FD1F4FA92B}" type="presParOf" srcId="{78C622E5-DC33-4B68-8DB8-3F44485BE413}" destId="{752B8759-4A3B-453F-A432-C7E357B73880}" srcOrd="2" destOrd="0" presId="urn:microsoft.com/office/officeart/2008/layout/CaptionedPictures"/>
    <dgm:cxn modelId="{157E8D69-10B4-46D8-8018-6D34252EC1D1}" type="presParOf" srcId="{752B8759-4A3B-453F-A432-C7E357B73880}" destId="{DDCB0782-D7CA-45AB-8763-7490D5CFE6C2}" srcOrd="0" destOrd="0" presId="urn:microsoft.com/office/officeart/2008/layout/CaptionedPictures"/>
    <dgm:cxn modelId="{721E032A-9CEF-4804-8F09-6D06F9AFF94E}" type="presParOf" srcId="{752B8759-4A3B-453F-A432-C7E357B73880}" destId="{0BEB9351-A264-45DB-8613-A0EDF36A7B32}" srcOrd="1" destOrd="0" presId="urn:microsoft.com/office/officeart/2008/layout/CaptionedPictures"/>
    <dgm:cxn modelId="{BF2D0EAA-D09F-469A-8C27-AE4480B42569}" type="presParOf" srcId="{A07185A3-7A60-4E03-8F5D-8F7E43E7AC72}" destId="{11125AB7-7766-463F-B2E4-8B7E0AEF9176}" srcOrd="9" destOrd="0" presId="urn:microsoft.com/office/officeart/2008/layout/CaptionedPictures"/>
    <dgm:cxn modelId="{287011B3-7D4E-4BD9-AE2B-6A3604780024}" type="presParOf" srcId="{A07185A3-7A60-4E03-8F5D-8F7E43E7AC72}" destId="{BD662A05-51F9-40EA-9220-06E0243B3162}" srcOrd="10" destOrd="0" presId="urn:microsoft.com/office/officeart/2008/layout/CaptionedPictures"/>
    <dgm:cxn modelId="{CEEEF4B6-6616-4D63-8936-910485AFCEC6}" type="presParOf" srcId="{BD662A05-51F9-40EA-9220-06E0243B3162}" destId="{C4948486-F096-430A-A8AE-324C5869907F}" srcOrd="0" destOrd="0" presId="urn:microsoft.com/office/officeart/2008/layout/CaptionedPictures"/>
    <dgm:cxn modelId="{7E3F36DA-67A8-4B5A-9F88-5BC2EF758CB7}" type="presParOf" srcId="{BD662A05-51F9-40EA-9220-06E0243B3162}" destId="{F1F7367A-929B-4B87-BBC5-3BBF79050359}" srcOrd="1" destOrd="0" presId="urn:microsoft.com/office/officeart/2008/layout/CaptionedPictures"/>
    <dgm:cxn modelId="{661B8849-A8B4-4E87-B8FD-0D27DD3D6B27}" type="presParOf" srcId="{BD662A05-51F9-40EA-9220-06E0243B3162}" destId="{80316066-8129-4BFC-A0AC-51C74AA8DB79}" srcOrd="2" destOrd="0" presId="urn:microsoft.com/office/officeart/2008/layout/CaptionedPictures"/>
    <dgm:cxn modelId="{30D6CA3A-336F-4C27-BE5D-75E3002BA912}" type="presParOf" srcId="{80316066-8129-4BFC-A0AC-51C74AA8DB79}" destId="{BC2EA5E4-AFD2-40E2-927C-9ABB1151C431}" srcOrd="0" destOrd="0" presId="urn:microsoft.com/office/officeart/2008/layout/CaptionedPictures"/>
    <dgm:cxn modelId="{A28F7E21-B5C2-4097-A527-6591855B9BD3}" type="presParOf" srcId="{80316066-8129-4BFC-A0AC-51C74AA8DB79}" destId="{25B42301-E09B-4090-AA74-BB12FC91ED04}" srcOrd="1" destOrd="0" presId="urn:microsoft.com/office/officeart/2008/layout/CaptionedPictures"/>
    <dgm:cxn modelId="{0093EA60-6241-43BA-AF4B-1FDCFCCCBBF7}" type="presParOf" srcId="{A07185A3-7A60-4E03-8F5D-8F7E43E7AC72}" destId="{AA336226-460B-4339-AA81-B4CE34606ACD}" srcOrd="11" destOrd="0" presId="urn:microsoft.com/office/officeart/2008/layout/CaptionedPictures"/>
    <dgm:cxn modelId="{7389B748-2C02-4FF8-9CEB-DD58EDC113D9}" type="presParOf" srcId="{A07185A3-7A60-4E03-8F5D-8F7E43E7AC72}" destId="{95317B5A-283D-4AD0-92EB-9ED878305309}" srcOrd="12" destOrd="0" presId="urn:microsoft.com/office/officeart/2008/layout/CaptionedPictures"/>
    <dgm:cxn modelId="{E5996186-32F7-4A37-A6BB-E52AF8906294}" type="presParOf" srcId="{95317B5A-283D-4AD0-92EB-9ED878305309}" destId="{81F4000D-BC49-479D-BE26-9261EC8CD8FF}" srcOrd="0" destOrd="0" presId="urn:microsoft.com/office/officeart/2008/layout/CaptionedPictures"/>
    <dgm:cxn modelId="{69DC83B0-C542-47B5-BD88-C5AE95BDFF74}" type="presParOf" srcId="{95317B5A-283D-4AD0-92EB-9ED878305309}" destId="{D0C27637-A298-4DBE-9937-743E0E6BD280}" srcOrd="1" destOrd="0" presId="urn:microsoft.com/office/officeart/2008/layout/CaptionedPictures"/>
    <dgm:cxn modelId="{4CF890DA-664F-4041-B5BC-09E938EB52AB}" type="presParOf" srcId="{95317B5A-283D-4AD0-92EB-9ED878305309}" destId="{73A1F18E-15D1-4785-8FB6-D92EBD33381D}" srcOrd="2" destOrd="0" presId="urn:microsoft.com/office/officeart/2008/layout/CaptionedPictures"/>
    <dgm:cxn modelId="{099E121C-D5AD-4C5E-9A54-77BBA2258ED6}" type="presParOf" srcId="{73A1F18E-15D1-4785-8FB6-D92EBD33381D}" destId="{A5287A1F-F5CB-4774-AEE4-6E5E0AD149CF}" srcOrd="0" destOrd="0" presId="urn:microsoft.com/office/officeart/2008/layout/CaptionedPictures"/>
    <dgm:cxn modelId="{583C53CA-497E-4BA2-8D03-A7995DBA73D7}" type="presParOf" srcId="{73A1F18E-15D1-4785-8FB6-D92EBD33381D}" destId="{B8BD2788-FD3E-483A-83F6-09D57EA09A9C}" srcOrd="1" destOrd="0" presId="urn:microsoft.com/office/officeart/2008/layout/CaptionedPictures"/>
    <dgm:cxn modelId="{D15B5C57-D5DC-4C37-9B4D-5E2111AACDF4}" type="presParOf" srcId="{A07185A3-7A60-4E03-8F5D-8F7E43E7AC72}" destId="{CADB0C16-BDBC-4058-BED5-BBF99FE9501D}" srcOrd="13" destOrd="0" presId="urn:microsoft.com/office/officeart/2008/layout/CaptionedPictures"/>
    <dgm:cxn modelId="{A5101BA2-5960-42B0-81ED-2EC6617A7D20}" type="presParOf" srcId="{A07185A3-7A60-4E03-8F5D-8F7E43E7AC72}" destId="{FB7B2D6C-EDC4-4189-893B-A970B3B8DB3A}" srcOrd="14" destOrd="0" presId="urn:microsoft.com/office/officeart/2008/layout/CaptionedPictures"/>
    <dgm:cxn modelId="{AB4CB3A4-B45E-4127-A17F-7F76310B14A4}" type="presParOf" srcId="{FB7B2D6C-EDC4-4189-893B-A970B3B8DB3A}" destId="{4480FDDA-67C4-4486-9BD7-0ED10CD4EE7F}" srcOrd="0" destOrd="0" presId="urn:microsoft.com/office/officeart/2008/layout/CaptionedPictures"/>
    <dgm:cxn modelId="{1D3DA839-5C58-4B76-8EEC-E2289C767D15}" type="presParOf" srcId="{FB7B2D6C-EDC4-4189-893B-A970B3B8DB3A}" destId="{78C8C2A8-04D0-4F8F-A76F-D8D8985AF189}" srcOrd="1" destOrd="0" presId="urn:microsoft.com/office/officeart/2008/layout/CaptionedPictures"/>
    <dgm:cxn modelId="{90B6784A-1EF1-4E95-AB78-8FD2874DB1BF}" type="presParOf" srcId="{FB7B2D6C-EDC4-4189-893B-A970B3B8DB3A}" destId="{3F14C8BB-0E02-48F1-A245-077F3D0DBA04}" srcOrd="2" destOrd="0" presId="urn:microsoft.com/office/officeart/2008/layout/CaptionedPictures"/>
    <dgm:cxn modelId="{4B95DDEC-A0FB-4727-808E-0DA306FE5915}" type="presParOf" srcId="{3F14C8BB-0E02-48F1-A245-077F3D0DBA04}" destId="{934EE2B6-87A6-482D-8C71-E27F8D0357DD}" srcOrd="0" destOrd="0" presId="urn:microsoft.com/office/officeart/2008/layout/CaptionedPictures"/>
    <dgm:cxn modelId="{C88BF7EC-3A56-46F2-988C-C61071458E00}" type="presParOf" srcId="{3F14C8BB-0E02-48F1-A245-077F3D0DBA04}" destId="{1CE10C51-DEF0-4666-86E3-0FE8D48F9801}" srcOrd="1" destOrd="0" presId="urn:microsoft.com/office/officeart/2008/layout/CaptionedPictures"/>
    <dgm:cxn modelId="{FB696F23-08C5-42A0-B53E-5662B30CDFD2}" type="presParOf" srcId="{A07185A3-7A60-4E03-8F5D-8F7E43E7AC72}" destId="{F238E777-9D08-4A97-9004-4CB6D8232821}" srcOrd="15" destOrd="0" presId="urn:microsoft.com/office/officeart/2008/layout/CaptionedPictures"/>
    <dgm:cxn modelId="{ACDE3565-019D-448D-B267-CE870508CD97}" type="presParOf" srcId="{A07185A3-7A60-4E03-8F5D-8F7E43E7AC72}" destId="{52FB2638-3A67-420E-B9EE-D3B487421081}" srcOrd="16" destOrd="0" presId="urn:microsoft.com/office/officeart/2008/layout/CaptionedPictures"/>
    <dgm:cxn modelId="{E2EDBF09-D30A-484F-A048-29269CEE1A2D}" type="presParOf" srcId="{52FB2638-3A67-420E-B9EE-D3B487421081}" destId="{494975D0-F565-43C2-A702-5C0A18C3F707}" srcOrd="0" destOrd="0" presId="urn:microsoft.com/office/officeart/2008/layout/CaptionedPictures"/>
    <dgm:cxn modelId="{556BEA45-11C6-4D35-B18A-D09255EE0D79}" type="presParOf" srcId="{52FB2638-3A67-420E-B9EE-D3B487421081}" destId="{8D55FBBE-7FCB-43A3-AE05-701CD31E1E49}" srcOrd="1" destOrd="0" presId="urn:microsoft.com/office/officeart/2008/layout/CaptionedPictures"/>
    <dgm:cxn modelId="{65A7066E-E6F9-4CA8-9EEF-52A6AA1DB227}" type="presParOf" srcId="{52FB2638-3A67-420E-B9EE-D3B487421081}" destId="{3FD5664D-CEC5-4576-B11D-FE52484241EB}" srcOrd="2" destOrd="0" presId="urn:microsoft.com/office/officeart/2008/layout/CaptionedPictures"/>
    <dgm:cxn modelId="{7323F132-7535-412F-8C94-8E247D1909A1}" type="presParOf" srcId="{3FD5664D-CEC5-4576-B11D-FE52484241EB}" destId="{9A89D83F-69EB-4BD0-A587-DF883B9A299C}" srcOrd="0" destOrd="0" presId="urn:microsoft.com/office/officeart/2008/layout/CaptionedPictures"/>
    <dgm:cxn modelId="{E96AD556-D047-4C51-98E7-0A3352B43B5E}" type="presParOf" srcId="{3FD5664D-CEC5-4576-B11D-FE52484241EB}" destId="{1FA7FD1A-76EA-4F02-84FB-2F2DAA3526D9}" srcOrd="1" destOrd="0" presId="urn:microsoft.com/office/officeart/2008/layout/CaptionedPictures"/>
    <dgm:cxn modelId="{42BE0E2C-25DF-4F33-BBCD-E0A5DACEF409}" type="presParOf" srcId="{A07185A3-7A60-4E03-8F5D-8F7E43E7AC72}" destId="{872F456C-A3AC-4C52-B782-CA613FBCADED}" srcOrd="17" destOrd="0" presId="urn:microsoft.com/office/officeart/2008/layout/CaptionedPictures"/>
    <dgm:cxn modelId="{DE96799B-AB34-4408-9D8E-D354BF87A00F}" type="presParOf" srcId="{A07185A3-7A60-4E03-8F5D-8F7E43E7AC72}" destId="{F9160448-FCE6-4A7D-B5E5-36AD257E32D2}" srcOrd="18" destOrd="0" presId="urn:microsoft.com/office/officeart/2008/layout/CaptionedPictures"/>
    <dgm:cxn modelId="{50DC9387-82C4-4644-8BFC-98E0E6063003}" type="presParOf" srcId="{F9160448-FCE6-4A7D-B5E5-36AD257E32D2}" destId="{8312DF5A-6374-45C7-BBC1-73EC253621E4}" srcOrd="0" destOrd="0" presId="urn:microsoft.com/office/officeart/2008/layout/CaptionedPictures"/>
    <dgm:cxn modelId="{74B87A93-BB0F-4F7D-A542-B2B738B0F71A}" type="presParOf" srcId="{F9160448-FCE6-4A7D-B5E5-36AD257E32D2}" destId="{5F5B564E-95B0-47B5-8AD9-CC0972A89BAA}" srcOrd="1" destOrd="0" presId="urn:microsoft.com/office/officeart/2008/layout/CaptionedPictures"/>
    <dgm:cxn modelId="{F0CD853A-0D38-4D61-8F81-39DAE30BB5B7}" type="presParOf" srcId="{F9160448-FCE6-4A7D-B5E5-36AD257E32D2}" destId="{C1C3BB7E-0D77-4FD1-B212-FA59068AA327}" srcOrd="2" destOrd="0" presId="urn:microsoft.com/office/officeart/2008/layout/CaptionedPictures"/>
    <dgm:cxn modelId="{A8966F34-0A56-4682-A41B-FBA39A20EFCF}" type="presParOf" srcId="{C1C3BB7E-0D77-4FD1-B212-FA59068AA327}" destId="{A6F0C7D3-C494-4946-9B1E-8CA3201BDFE9}" srcOrd="0" destOrd="0" presId="urn:microsoft.com/office/officeart/2008/layout/CaptionedPictures"/>
    <dgm:cxn modelId="{5F66B9A2-BF48-4C1A-A1A3-ABA3D9FC86EE}" type="presParOf" srcId="{C1C3BB7E-0D77-4FD1-B212-FA59068AA327}" destId="{BD3ABDFA-7752-4CB9-B279-9F9355C3D6F2}" srcOrd="1" destOrd="0" presId="urn:microsoft.com/office/officeart/2008/layout/CaptionedPictures"/>
    <dgm:cxn modelId="{B0841D95-450E-4392-87C6-56FE9F44CE31}" type="presParOf" srcId="{A07185A3-7A60-4E03-8F5D-8F7E43E7AC72}" destId="{A27117BD-9216-47D3-BF26-A73A26BF7AFB}" srcOrd="19" destOrd="0" presId="urn:microsoft.com/office/officeart/2008/layout/CaptionedPictures"/>
    <dgm:cxn modelId="{A5DFF05D-764C-4302-91E1-A252065E66A2}" type="presParOf" srcId="{A07185A3-7A60-4E03-8F5D-8F7E43E7AC72}" destId="{CC7BD828-08F5-4A66-ADB1-3DE87674093C}" srcOrd="20" destOrd="0" presId="urn:microsoft.com/office/officeart/2008/layout/CaptionedPictures"/>
    <dgm:cxn modelId="{E6CFF2C5-F316-4A9E-9B23-62547AC00D23}" type="presParOf" srcId="{CC7BD828-08F5-4A66-ADB1-3DE87674093C}" destId="{CB70070E-B242-4672-856E-ACD6715BA718}" srcOrd="0" destOrd="0" presId="urn:microsoft.com/office/officeart/2008/layout/CaptionedPictures"/>
    <dgm:cxn modelId="{808DEE5C-5D82-49D0-92AC-B5382015CAA9}" type="presParOf" srcId="{CC7BD828-08F5-4A66-ADB1-3DE87674093C}" destId="{2E72E748-FFCA-4B7A-A640-CC9D3C4215F4}" srcOrd="1" destOrd="0" presId="urn:microsoft.com/office/officeart/2008/layout/CaptionedPictures"/>
    <dgm:cxn modelId="{57B675EC-EBEA-4F19-92A9-F07752E499E3}" type="presParOf" srcId="{CC7BD828-08F5-4A66-ADB1-3DE87674093C}" destId="{DCEFAA45-74A6-4DA3-920D-18E770FBB324}" srcOrd="2" destOrd="0" presId="urn:microsoft.com/office/officeart/2008/layout/CaptionedPictures"/>
    <dgm:cxn modelId="{F66394CE-81F7-490A-A380-C4B82BC38661}" type="presParOf" srcId="{DCEFAA45-74A6-4DA3-920D-18E770FBB324}" destId="{C7B0DFC2-8423-4C54-8080-F8D2C7892C32}" srcOrd="0" destOrd="0" presId="urn:microsoft.com/office/officeart/2008/layout/CaptionedPictures"/>
    <dgm:cxn modelId="{28B63D46-2080-4F7F-87DB-DC310727AD0E}" type="presParOf" srcId="{DCEFAA45-74A6-4DA3-920D-18E770FBB324}" destId="{4961F012-4BB3-461A-BC84-58A32ADBD740}" srcOrd="1" destOrd="0" presId="urn:microsoft.com/office/officeart/2008/layout/CaptionedPicture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7F35AA-F7F9-416D-A4F3-235663FA61CD}">
      <dsp:nvSpPr>
        <dsp:cNvPr id="0" name=""/>
        <dsp:cNvSpPr/>
      </dsp:nvSpPr>
      <dsp:spPr>
        <a:xfrm>
          <a:off x="3246" y="804507"/>
          <a:ext cx="1420772" cy="1671496"/>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sp>
    <dsp:sp modelId="{FF73ECE6-1C57-49C1-84CB-5F2CC4EA4EB7}">
      <dsp:nvSpPr>
        <dsp:cNvPr id="0" name=""/>
        <dsp:cNvSpPr/>
      </dsp:nvSpPr>
      <dsp:spPr>
        <a:xfrm>
          <a:off x="74284" y="871367"/>
          <a:ext cx="1278695" cy="1086473"/>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4000" r="-14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D4D73926-EFA5-4688-81D0-001C8D621E98}">
      <dsp:nvSpPr>
        <dsp:cNvPr id="0" name=""/>
        <dsp:cNvSpPr/>
      </dsp:nvSpPr>
      <dsp:spPr>
        <a:xfrm>
          <a:off x="74284" y="1957840"/>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IT / Modern workplace </a:t>
          </a:r>
        </a:p>
      </dsp:txBody>
      <dsp:txXfrm>
        <a:off x="74284" y="1957840"/>
        <a:ext cx="1278695" cy="451304"/>
      </dsp:txXfrm>
    </dsp:sp>
    <dsp:sp modelId="{9B265A07-7FEA-453A-98A9-0AFC37D8115E}">
      <dsp:nvSpPr>
        <dsp:cNvPr id="0" name=""/>
        <dsp:cNvSpPr/>
      </dsp:nvSpPr>
      <dsp:spPr>
        <a:xfrm>
          <a:off x="1758885" y="804507"/>
          <a:ext cx="1420772" cy="1671496"/>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sp>
    <dsp:sp modelId="{59953825-12B2-4042-8F51-0C8A8C4DAECB}">
      <dsp:nvSpPr>
        <dsp:cNvPr id="0" name=""/>
        <dsp:cNvSpPr/>
      </dsp:nvSpPr>
      <dsp:spPr>
        <a:xfrm>
          <a:off x="1829923" y="871367"/>
          <a:ext cx="1278695" cy="1086473"/>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7000" b="-7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E75F6679-1F70-488A-A11E-3C4B74342553}">
      <dsp:nvSpPr>
        <dsp:cNvPr id="0" name=""/>
        <dsp:cNvSpPr/>
      </dsp:nvSpPr>
      <dsp:spPr>
        <a:xfrm>
          <a:off x="1829923" y="1957840"/>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AV / Digital signage </a:t>
          </a:r>
        </a:p>
      </dsp:txBody>
      <dsp:txXfrm>
        <a:off x="1829923" y="1957840"/>
        <a:ext cx="1278695" cy="451304"/>
      </dsp:txXfrm>
    </dsp:sp>
    <dsp:sp modelId="{D6B89513-6923-44D5-B719-BF5FAEDA72FC}">
      <dsp:nvSpPr>
        <dsp:cNvPr id="0" name=""/>
        <dsp:cNvSpPr/>
      </dsp:nvSpPr>
      <dsp:spPr>
        <a:xfrm>
          <a:off x="3514524" y="804507"/>
          <a:ext cx="1420772" cy="1671496"/>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sp>
    <dsp:sp modelId="{FB3B0D26-B3CE-440E-93D5-8996A6EF3E97}">
      <dsp:nvSpPr>
        <dsp:cNvPr id="0" name=""/>
        <dsp:cNvSpPr/>
      </dsp:nvSpPr>
      <dsp:spPr>
        <a:xfrm>
          <a:off x="3585562" y="871367"/>
          <a:ext cx="1278695" cy="1086473"/>
        </a:xfrm>
        <a:prstGeom prst="rect">
          <a:avLst/>
        </a:prstGeom>
        <a:blipFill>
          <a:blip xmlns:r="http://schemas.openxmlformats.org/officeDocument/2006/relationships" r:embed="rId3"/>
          <a:srcRect/>
          <a:stretch>
            <a:fillRect l="-14000" r="-14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23E08D0D-9E9E-42F1-BDC7-376146A4130C}">
      <dsp:nvSpPr>
        <dsp:cNvPr id="0" name=""/>
        <dsp:cNvSpPr/>
      </dsp:nvSpPr>
      <dsp:spPr>
        <a:xfrm>
          <a:off x="3585562" y="1997175"/>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rgbClr val="573EEF"/>
              </a:solidFill>
              <a:latin typeface="Montserrat" panose="00000500000000000000" pitchFamily="2" charset="0"/>
              <a:ea typeface="+mn-ea"/>
              <a:cs typeface="+mn-cs"/>
            </a:rPr>
            <a:t>Software, cloud, network &amp;  servers</a:t>
          </a:r>
        </a:p>
      </dsp:txBody>
      <dsp:txXfrm>
        <a:off x="3585562" y="1997175"/>
        <a:ext cx="1278695" cy="451304"/>
      </dsp:txXfrm>
    </dsp:sp>
    <dsp:sp modelId="{363653F6-B1AC-4F95-8646-009AD15110B4}">
      <dsp:nvSpPr>
        <dsp:cNvPr id="0" name=""/>
        <dsp:cNvSpPr/>
      </dsp:nvSpPr>
      <dsp:spPr>
        <a:xfrm>
          <a:off x="5270163" y="804507"/>
          <a:ext cx="1420772" cy="1671496"/>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sp>
    <dsp:sp modelId="{9D105708-EB49-4857-939A-B9CA99058E39}">
      <dsp:nvSpPr>
        <dsp:cNvPr id="0" name=""/>
        <dsp:cNvSpPr/>
      </dsp:nvSpPr>
      <dsp:spPr>
        <a:xfrm>
          <a:off x="5341201" y="871367"/>
          <a:ext cx="1278695" cy="1086473"/>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4000" r="-24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01C1FE2C-9A3E-4C37-8405-2785CE1D1F40}">
      <dsp:nvSpPr>
        <dsp:cNvPr id="0" name=""/>
        <dsp:cNvSpPr/>
      </dsp:nvSpPr>
      <dsp:spPr>
        <a:xfrm>
          <a:off x="5341201" y="1957840"/>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Consulting </a:t>
          </a:r>
        </a:p>
      </dsp:txBody>
      <dsp:txXfrm>
        <a:off x="5341201" y="1957840"/>
        <a:ext cx="1278695" cy="451304"/>
      </dsp:txXfrm>
    </dsp:sp>
    <dsp:sp modelId="{DFE7AB6E-48BC-460D-B743-9ACF5C18959D}">
      <dsp:nvSpPr>
        <dsp:cNvPr id="0" name=""/>
        <dsp:cNvSpPr/>
      </dsp:nvSpPr>
      <dsp:spPr>
        <a:xfrm>
          <a:off x="7025802" y="804507"/>
          <a:ext cx="1420772" cy="1671496"/>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sp>
    <dsp:sp modelId="{3825B25B-9A6A-4EC1-820F-56DCC27F1701}">
      <dsp:nvSpPr>
        <dsp:cNvPr id="0" name=""/>
        <dsp:cNvSpPr/>
      </dsp:nvSpPr>
      <dsp:spPr>
        <a:xfrm>
          <a:off x="7096841" y="871367"/>
          <a:ext cx="1278695" cy="1086473"/>
        </a:xfrm>
        <a:prstGeom prst="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20000" r="-20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0BEB9351-A264-45DB-8613-A0EDF36A7B32}">
      <dsp:nvSpPr>
        <dsp:cNvPr id="0" name=""/>
        <dsp:cNvSpPr/>
      </dsp:nvSpPr>
      <dsp:spPr>
        <a:xfrm>
          <a:off x="7096841" y="1957840"/>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Meeting room</a:t>
          </a:r>
        </a:p>
      </dsp:txBody>
      <dsp:txXfrm>
        <a:off x="7096841" y="1957840"/>
        <a:ext cx="1278695" cy="451304"/>
      </dsp:txXfrm>
    </dsp:sp>
    <dsp:sp modelId="{C4948486-F096-430A-A8AE-324C5869907F}">
      <dsp:nvSpPr>
        <dsp:cNvPr id="0" name=""/>
        <dsp:cNvSpPr/>
      </dsp:nvSpPr>
      <dsp:spPr>
        <a:xfrm>
          <a:off x="8781441" y="804507"/>
          <a:ext cx="1420772" cy="1671496"/>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sp>
    <dsp:sp modelId="{F1F7367A-929B-4B87-BBC5-3BBF79050359}">
      <dsp:nvSpPr>
        <dsp:cNvPr id="0" name=""/>
        <dsp:cNvSpPr/>
      </dsp:nvSpPr>
      <dsp:spPr>
        <a:xfrm>
          <a:off x="8852480" y="871367"/>
          <a:ext cx="1278695" cy="1086473"/>
        </a:xfrm>
        <a:prstGeom prst="rect">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l="-7000" r="-7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25B42301-E09B-4090-AA74-BB12FC91ED04}">
      <dsp:nvSpPr>
        <dsp:cNvPr id="0" name=""/>
        <dsp:cNvSpPr/>
      </dsp:nvSpPr>
      <dsp:spPr>
        <a:xfrm>
          <a:off x="8852480" y="1957840"/>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LED lighting / refrigeration</a:t>
          </a:r>
        </a:p>
      </dsp:txBody>
      <dsp:txXfrm>
        <a:off x="8852480" y="1957840"/>
        <a:ext cx="1278695" cy="451304"/>
      </dsp:txXfrm>
    </dsp:sp>
    <dsp:sp modelId="{81F4000D-BC49-479D-BE26-9261EC8CD8FF}">
      <dsp:nvSpPr>
        <dsp:cNvPr id="0" name=""/>
        <dsp:cNvSpPr/>
      </dsp:nvSpPr>
      <dsp:spPr>
        <a:xfrm>
          <a:off x="881065" y="2618081"/>
          <a:ext cx="1420772" cy="1671496"/>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sp>
    <dsp:sp modelId="{D0C27637-A298-4DBE-9937-743E0E6BD280}">
      <dsp:nvSpPr>
        <dsp:cNvPr id="0" name=""/>
        <dsp:cNvSpPr/>
      </dsp:nvSpPr>
      <dsp:spPr>
        <a:xfrm>
          <a:off x="952104" y="2684941"/>
          <a:ext cx="1278695" cy="1086473"/>
        </a:xfrm>
        <a:prstGeom prst="rect">
          <a:avLst/>
        </a:prstGeom>
        <a:blipFill>
          <a:blip xmlns:r="http://schemas.openxmlformats.org/officeDocument/2006/relationships" r:embed="rId7">
            <a:extLst>
              <a:ext uri="{28A0092B-C50C-407E-A947-70E740481C1C}">
                <a14:useLocalDpi xmlns:a14="http://schemas.microsoft.com/office/drawing/2010/main" val="0"/>
              </a:ext>
            </a:extLst>
          </a:blip>
          <a:srcRect/>
          <a:stretch>
            <a:fillRect l="-40000" r="-40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B8BD2788-FD3E-483A-83F6-09D57EA09A9C}">
      <dsp:nvSpPr>
        <dsp:cNvPr id="0" name=""/>
        <dsp:cNvSpPr/>
      </dsp:nvSpPr>
      <dsp:spPr>
        <a:xfrm>
          <a:off x="952104" y="3771414"/>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Smart lockers</a:t>
          </a:r>
        </a:p>
      </dsp:txBody>
      <dsp:txXfrm>
        <a:off x="952104" y="3771414"/>
        <a:ext cx="1278695" cy="451304"/>
      </dsp:txXfrm>
    </dsp:sp>
    <dsp:sp modelId="{4480FDDA-67C4-4486-9BD7-0ED10CD4EE7F}">
      <dsp:nvSpPr>
        <dsp:cNvPr id="0" name=""/>
        <dsp:cNvSpPr/>
      </dsp:nvSpPr>
      <dsp:spPr>
        <a:xfrm>
          <a:off x="2636704" y="2618081"/>
          <a:ext cx="1420772" cy="1671496"/>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78C8C2A8-04D0-4F8F-A76F-D8D8985AF189}">
      <dsp:nvSpPr>
        <dsp:cNvPr id="0" name=""/>
        <dsp:cNvSpPr/>
      </dsp:nvSpPr>
      <dsp:spPr>
        <a:xfrm>
          <a:off x="2707743" y="2684941"/>
          <a:ext cx="1278695" cy="1086473"/>
        </a:xfrm>
        <a:prstGeom prst="rect">
          <a:avLst/>
        </a:prstGeom>
        <a:blipFill>
          <a:blip xmlns:r="http://schemas.openxmlformats.org/officeDocument/2006/relationships" r:embed="rId8">
            <a:extLst>
              <a:ext uri="{28A0092B-C50C-407E-A947-70E740481C1C}">
                <a14:useLocalDpi xmlns:a14="http://schemas.microsoft.com/office/drawing/2010/main" val="0"/>
              </a:ext>
            </a:extLst>
          </a:blip>
          <a:srcRect/>
          <a:stretch>
            <a:fillRect l="-14000" r="-1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CE10C51-DEF0-4666-86E3-0FE8D48F9801}">
      <dsp:nvSpPr>
        <dsp:cNvPr id="0" name=""/>
        <dsp:cNvSpPr/>
      </dsp:nvSpPr>
      <dsp:spPr>
        <a:xfrm>
          <a:off x="2707743" y="3771414"/>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Self checkout / PIN pads</a:t>
          </a:r>
        </a:p>
      </dsp:txBody>
      <dsp:txXfrm>
        <a:off x="2707743" y="3771414"/>
        <a:ext cx="1278695" cy="451304"/>
      </dsp:txXfrm>
    </dsp:sp>
    <dsp:sp modelId="{494975D0-F565-43C2-A702-5C0A18C3F707}">
      <dsp:nvSpPr>
        <dsp:cNvPr id="0" name=""/>
        <dsp:cNvSpPr/>
      </dsp:nvSpPr>
      <dsp:spPr>
        <a:xfrm>
          <a:off x="4392343" y="2618081"/>
          <a:ext cx="1420772" cy="1671496"/>
        </a:xfrm>
        <a:prstGeom prst="rect">
          <a:avLst/>
        </a:prstGeom>
        <a:solidFill>
          <a:sysClr val="window" lastClr="FFFFFF">
            <a:alpha val="40000"/>
            <a:hueOff val="0"/>
            <a:satOff val="0"/>
            <a:lumOff val="0"/>
            <a:alphaOff val="0"/>
          </a:sysClr>
        </a:solidFill>
        <a:ln w="6350" cap="flat" cmpd="sng" algn="ctr">
          <a:solidFill>
            <a:srgbClr val="573EE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sp>
    <dsp:sp modelId="{8D55FBBE-7FCB-43A3-AE05-701CD31E1E49}">
      <dsp:nvSpPr>
        <dsp:cNvPr id="0" name=""/>
        <dsp:cNvSpPr/>
      </dsp:nvSpPr>
      <dsp:spPr>
        <a:xfrm>
          <a:off x="4463382" y="2684941"/>
          <a:ext cx="1278695" cy="1086473"/>
        </a:xfrm>
        <a:prstGeom prst="rect">
          <a:avLst/>
        </a:prstGeom>
        <a:blipFill>
          <a:blip xmlns:r="http://schemas.openxmlformats.org/officeDocument/2006/relationships" r:embed="rId9">
            <a:extLst>
              <a:ext uri="{28A0092B-C50C-407E-A947-70E740481C1C}">
                <a14:useLocalDpi xmlns:a14="http://schemas.microsoft.com/office/drawing/2010/main" val="0"/>
              </a:ext>
            </a:extLst>
          </a:blip>
          <a:srcRect/>
          <a:stretch>
            <a:fillRect l="-33000" r="-33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1FA7FD1A-76EA-4F02-84FB-2F2DAA3526D9}">
      <dsp:nvSpPr>
        <dsp:cNvPr id="0" name=""/>
        <dsp:cNvSpPr/>
      </dsp:nvSpPr>
      <dsp:spPr>
        <a:xfrm>
          <a:off x="4463382" y="3771414"/>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Ticket machines</a:t>
          </a:r>
        </a:p>
      </dsp:txBody>
      <dsp:txXfrm>
        <a:off x="4463382" y="3771414"/>
        <a:ext cx="1278695" cy="451304"/>
      </dsp:txXfrm>
    </dsp:sp>
    <dsp:sp modelId="{8312DF5A-6374-45C7-BBC1-73EC253621E4}">
      <dsp:nvSpPr>
        <dsp:cNvPr id="0" name=""/>
        <dsp:cNvSpPr/>
      </dsp:nvSpPr>
      <dsp:spPr>
        <a:xfrm>
          <a:off x="6147982" y="2618081"/>
          <a:ext cx="1420772" cy="1671496"/>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5F5B564E-95B0-47B5-8AD9-CC0972A89BAA}">
      <dsp:nvSpPr>
        <dsp:cNvPr id="0" name=""/>
        <dsp:cNvSpPr/>
      </dsp:nvSpPr>
      <dsp:spPr>
        <a:xfrm>
          <a:off x="6219021" y="2684941"/>
          <a:ext cx="1278695" cy="1086473"/>
        </a:xfrm>
        <a:prstGeom prst="rect">
          <a:avLst/>
        </a:prstGeom>
        <a:blipFill>
          <a:blip xmlns:r="http://schemas.openxmlformats.org/officeDocument/2006/relationships" r:embed="rId10">
            <a:extLst>
              <a:ext uri="{28A0092B-C50C-407E-A947-70E740481C1C}">
                <a14:useLocalDpi xmlns:a14="http://schemas.microsoft.com/office/drawing/2010/main" val="0"/>
              </a:ext>
            </a:extLst>
          </a:blip>
          <a:srcRect/>
          <a:stretch>
            <a:fillRect l="-21000" r="-2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D3ABDFA-7752-4CB9-B279-9F9355C3D6F2}">
      <dsp:nvSpPr>
        <dsp:cNvPr id="0" name=""/>
        <dsp:cNvSpPr/>
      </dsp:nvSpPr>
      <dsp:spPr>
        <a:xfrm>
          <a:off x="6219021" y="3771414"/>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Car park tech</a:t>
          </a:r>
        </a:p>
      </dsp:txBody>
      <dsp:txXfrm>
        <a:off x="6219021" y="3771414"/>
        <a:ext cx="1278695" cy="451304"/>
      </dsp:txXfrm>
    </dsp:sp>
    <dsp:sp modelId="{CB70070E-B242-4672-856E-ACD6715BA718}">
      <dsp:nvSpPr>
        <dsp:cNvPr id="0" name=""/>
        <dsp:cNvSpPr/>
      </dsp:nvSpPr>
      <dsp:spPr>
        <a:xfrm>
          <a:off x="7903621" y="2618081"/>
          <a:ext cx="1420772" cy="1671496"/>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2E72E748-FFCA-4B7A-A640-CC9D3C4215F4}">
      <dsp:nvSpPr>
        <dsp:cNvPr id="0" name=""/>
        <dsp:cNvSpPr/>
      </dsp:nvSpPr>
      <dsp:spPr>
        <a:xfrm>
          <a:off x="7974660" y="2684941"/>
          <a:ext cx="1278695" cy="1086473"/>
        </a:xfrm>
        <a:prstGeom prst="rect">
          <a:avLst/>
        </a:prstGeom>
        <a:blipFill>
          <a:blip xmlns:r="http://schemas.openxmlformats.org/officeDocument/2006/relationships" r:embed="rId11"/>
          <a:srcRect/>
          <a:stretch>
            <a:fillRect l="-35000" r="-3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961F012-4BB3-461A-BC84-58A32ADBD740}">
      <dsp:nvSpPr>
        <dsp:cNvPr id="0" name=""/>
        <dsp:cNvSpPr/>
      </dsp:nvSpPr>
      <dsp:spPr>
        <a:xfrm>
          <a:off x="7974660" y="3771414"/>
          <a:ext cx="1278695" cy="451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573EEF"/>
              </a:solidFill>
              <a:latin typeface="Montserrat" panose="00000500000000000000" pitchFamily="2" charset="0"/>
              <a:ea typeface="+mn-ea"/>
              <a:cs typeface="+mn-cs"/>
            </a:rPr>
            <a:t>Media equipment</a:t>
          </a:r>
        </a:p>
      </dsp:txBody>
      <dsp:txXfrm>
        <a:off x="7974660" y="3771414"/>
        <a:ext cx="1278695" cy="451304"/>
      </dsp:txXfrm>
    </dsp:sp>
  </dsp:spTree>
</dsp:drawing>
</file>

<file path=ppt/diagrams/layout1.xml><?xml version="1.0" encoding="utf-8"?>
<dgm:layoutDef xmlns:dgm="http://schemas.openxmlformats.org/drawingml/2006/diagram" xmlns:a="http://schemas.openxmlformats.org/drawingml/2006/main" uniqueId="urn:microsoft.com/office/officeart/2008/layout/CaptionedPictures">
  <dgm:title val=""/>
  <dgm:desc val=""/>
  <dgm:catLst>
    <dgm:cat type="picture" pri="5000"/>
    <dgm:cat type="pictureconvert" pri="5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Name0">
    <dgm:varLst>
      <dgm:chMax/>
      <dgm:chPref/>
      <dgm:dir/>
    </dgm:varLst>
    <dgm:choose name="Name1">
      <dgm:if name="Name2" func="var" arg="dir" op="equ" val="norm">
        <dgm:alg type="snake">
          <dgm:param type="off" val="ctr"/>
        </dgm:alg>
      </dgm:if>
      <dgm:else name="Name3">
        <dgm:alg type="snake">
          <dgm:param type="grDir" val="tR"/>
          <dgm:param type="off" val="ctr"/>
        </dgm:alg>
      </dgm:else>
    </dgm:choose>
    <dgm:shape xmlns:r="http://schemas.openxmlformats.org/officeDocument/2006/relationships" r:blip="">
      <dgm:adjLst/>
    </dgm:shape>
    <dgm:constrLst>
      <dgm:constr type="primFontSz" for="des" forName="Parent" op="equ"/>
      <dgm:constr type="primFontSz" for="des" forName="Child" refType="primFontSz" refFor="des" refForName="Parent" op="lte"/>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varLst>
          <dgm:chMax val="1"/>
          <dgm:chPref val="1"/>
        </dgm:varLst>
        <dgm:alg type="composite">
          <dgm:param type="ar" val="0.85"/>
        </dgm:alg>
        <dgm:shape xmlns:r="http://schemas.openxmlformats.org/officeDocument/2006/relationships" r:blip="">
          <dgm:adjLst/>
        </dgm:shape>
        <dgm:constrLst>
          <dgm:constr type="l" for="ch" forName="Accent" refType="w" fact="0"/>
          <dgm:constr type="t" for="ch" forName="Accent" refType="h" fact="0"/>
          <dgm:constr type="w" for="ch" forName="Accent" refType="w"/>
          <dgm:constr type="h" for="ch" forName="Accent" refType="h"/>
          <dgm:constr type="l" for="ch" forName="Image" refType="w" fact="0.05"/>
          <dgm:constr type="t" for="ch" forName="Image" refType="h" fact="0.04"/>
          <dgm:constr type="w" for="ch" forName="Image" refType="w" fact="0.9"/>
          <dgm:constr type="h" for="ch" forName="Image" refType="h" fact="0.65"/>
          <dgm:constr type="l" for="ch" forName="ChildComposite" refType="w" fact="0.05"/>
          <dgm:constr type="t" for="ch" forName="ChildComposite" refType="h" fact="0.69"/>
          <dgm:constr type="w" for="ch" forName="ChildComposite" refType="w" fact="0.9"/>
          <dgm:constr type="h" for="ch" forName="ChildComposite" refType="h" fact="0.27"/>
        </dgm:constrLst>
        <dgm:layoutNode name="Accent" styleLbl="trAlignAcc1">
          <dgm:varLst>
            <dgm:chMax val="0"/>
            <dgm:chPref val="0"/>
          </dgm:varLst>
          <dgm:alg type="sp"/>
          <dgm:shape xmlns:r="http://schemas.openxmlformats.org/officeDocument/2006/relationships" type="rect" r:blip="">
            <dgm:adjLst/>
          </dgm:shape>
          <dgm:presOf/>
        </dgm:layoutNode>
        <dgm:layoutNode name="Image" styleLbl="alignImgPlace1">
          <dgm:varLst>
            <dgm:chMax val="0"/>
            <dgm:chPref val="0"/>
          </dgm:varLst>
          <dgm:alg type="sp"/>
          <dgm:shape xmlns:r="http://schemas.openxmlformats.org/officeDocument/2006/relationships" type="rect" r:blip="" blipPhldr="1">
            <dgm:adjLst/>
          </dgm:shape>
          <dgm:presOf/>
        </dgm:layoutNode>
        <dgm:layoutNode name="ChildComposite">
          <dgm:alg type="composite"/>
          <dgm:shape xmlns:r="http://schemas.openxmlformats.org/officeDocument/2006/relationships" r:blip="">
            <dgm:adjLst/>
          </dgm:shape>
          <dgm:choose name="Name4">
            <dgm:if name="Name5" axis="ch" ptType="node" func="cnt" op="gte" val="1">
              <dgm:constrLst>
                <dgm:constr type="l" for="ch" forName="Parent" refType="w" fact="0"/>
                <dgm:constr type="t" for="ch" forName="Parent" refType="h" fact="0"/>
                <dgm:constr type="w" for="ch" forName="Parent" refType="w"/>
                <dgm:constr type="h" for="ch" forName="Parent" refType="h" fact="0.3704"/>
                <dgm:constr type="l" for="ch" forName="Child" refType="w" fact="0"/>
                <dgm:constr type="t" for="ch" forName="Child" refType="h" fact="0.3704"/>
                <dgm:constr type="w" for="ch" forName="Child" refType="w"/>
                <dgm:constr type="h" for="ch" forName="Child" refType="h" fact="0.6296"/>
              </dgm:constrLst>
            </dgm:if>
            <dgm:else name="Name6">
              <dgm:constrLst>
                <dgm:constr type="l" for="ch" forName="Parent" refType="w" fact="0"/>
                <dgm:constr type="t" for="ch" forName="Parent" refType="h" fact="0"/>
                <dgm:constr type="w" for="ch" forName="Parent" refType="w"/>
                <dgm:constr type="h" for="ch" forName="Parent" refType="h"/>
                <dgm:constr type="l" for="ch" forName="Child" refType="w" fact="0"/>
                <dgm:constr type="t" for="ch" forName="Child" refType="h" fact="0"/>
                <dgm:constr type="w" for="ch" forName="Child" refType="w" fact="0"/>
                <dgm:constr type="h" for="ch" forName="Child" refType="h" fact="0"/>
              </dgm:constrLst>
            </dgm:else>
          </dgm:choose>
          <dgm:layoutNode name="Child" styleLbl="node1">
            <dgm:varLst>
              <dgm:chMax val="0"/>
              <dgm:chPref val="0"/>
              <dgm:bulletEnabled val="1"/>
            </dgm:varLst>
            <dgm:choose name="Name7">
              <dgm:if name="Name8" axis="ch" ptType="node" func="cnt" op="gt" val="1">
                <dgm:alg type="tx">
                  <dgm:param type="parTxLTRAlign" val="l"/>
                  <dgm:param type="parTxRTLAlign" val="r"/>
                  <dgm:param type="txAnchorVert" val="mid"/>
                  <dgm:param type="txAnchorVertCh" val="mid"/>
                </dgm:alg>
              </dgm:if>
              <dgm:else name="Name9">
                <dgm:alg type="tx">
                  <dgm:param type="parTxLTRAlign" val="ctr"/>
                  <dgm:param type="parTxRTLAlign" val="ctr"/>
                  <dgm:param type="shpTxLTRAlignCh" val="l"/>
                  <dgm:param type="shpTxRTLAlignCh" val="r"/>
                  <dgm:param type="txAnchorVert" val="mid"/>
                  <dgm:param type="txAnchorVertCh" val="mid"/>
                </dgm:alg>
              </dgm:else>
            </dgm:choose>
            <dgm:choose name="Name10">
              <dgm:if name="Name11" axis="ch" ptType="node" func="cnt" op="gte" val="1">
                <dgm:shape xmlns:r="http://schemas.openxmlformats.org/officeDocument/2006/relationships" type="rect" r:blip="">
                  <dgm:adjLst/>
                </dgm:shape>
              </dgm:if>
              <dgm:else name="Name12">
                <dgm:shape xmlns:r="http://schemas.openxmlformats.org/officeDocument/2006/relationships" type="rect" r:blip="" hideGeom="1">
                  <dgm:adjLst/>
                </dgm:shape>
              </dgm:else>
            </dgm:choose>
            <dgm:choose name="Name13">
              <dgm:if name="Name14" axis="ch" ptType="node" func="cnt" op="gte" val="1">
                <dgm:presOf axis="des" ptType="node"/>
              </dgm:if>
              <dgm:else name="Name15">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 styleLbl="revTx">
            <dgm:varLst>
              <dgm:chMax val="1"/>
              <dgm:chPref val="0"/>
              <dgm:bulletEnabled val="1"/>
            </dgm:varLst>
            <dgm:alg type="tx">
              <dgm:param type="shpTxLTRAlignCh" val="ctr"/>
              <dgm:param type="txAnchorVert" val="mid"/>
            </dgm:alg>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0"/>
            <a:ext cx="2945659" cy="498136"/>
          </a:xfrm>
          <a:prstGeom prst="rect">
            <a:avLst/>
          </a:prstGeom>
        </p:spPr>
        <p:txBody>
          <a:bodyPr vert="horz" lIns="91440" tIns="45720" rIns="91440" bIns="45720" rtlCol="0"/>
          <a:lstStyle>
            <a:lvl1pPr algn="l">
              <a:defRPr sz="1200"/>
            </a:lvl1pPr>
          </a:lstStyle>
          <a:p>
            <a:endParaRPr lang="en-GB" dirty="0"/>
          </a:p>
        </p:txBody>
      </p:sp>
      <p:sp>
        <p:nvSpPr>
          <p:cNvPr id="3" name="Espace réservé de la date 2"/>
          <p:cNvSpPr>
            <a:spLocks noGrp="1"/>
          </p:cNvSpPr>
          <p:nvPr>
            <p:ph type="dt" idx="1"/>
          </p:nvPr>
        </p:nvSpPr>
        <p:spPr>
          <a:xfrm>
            <a:off x="3850444" y="0"/>
            <a:ext cx="2945659" cy="498136"/>
          </a:xfrm>
          <a:prstGeom prst="rect">
            <a:avLst/>
          </a:prstGeom>
        </p:spPr>
        <p:txBody>
          <a:bodyPr vert="horz" lIns="91440" tIns="45720" rIns="91440" bIns="45720" rtlCol="0"/>
          <a:lstStyle>
            <a:lvl1pPr algn="r">
              <a:defRPr sz="1200"/>
            </a:lvl1pPr>
          </a:lstStyle>
          <a:p>
            <a:fld id="{735FE739-DF8F-4656-8891-F980EA55D6DA}" type="datetimeFigureOut">
              <a:rPr lang="en-GB" smtClean="0"/>
              <a:t>17/08/2021</a:t>
            </a:fld>
            <a:endParaRPr lang="en-GB" dirty="0"/>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dirty="0"/>
          </a:p>
        </p:txBody>
      </p:sp>
      <p:sp>
        <p:nvSpPr>
          <p:cNvPr id="5" name="Espace réservé des notes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6" name="Espace réservé du pied de page 5"/>
          <p:cNvSpPr>
            <a:spLocks noGrp="1"/>
          </p:cNvSpPr>
          <p:nvPr>
            <p:ph type="ftr" sz="quarter" idx="4"/>
          </p:nvPr>
        </p:nvSpPr>
        <p:spPr>
          <a:xfrm>
            <a:off x="1" y="9430092"/>
            <a:ext cx="2945659" cy="498135"/>
          </a:xfrm>
          <a:prstGeom prst="rect">
            <a:avLst/>
          </a:prstGeom>
        </p:spPr>
        <p:txBody>
          <a:bodyPr vert="horz" lIns="91440" tIns="45720" rIns="91440" bIns="45720" rtlCol="0" anchor="b"/>
          <a:lstStyle>
            <a:lvl1pPr algn="l">
              <a:defRPr sz="1200"/>
            </a:lvl1pPr>
          </a:lstStyle>
          <a:p>
            <a:endParaRPr lang="en-GB" dirty="0"/>
          </a:p>
        </p:txBody>
      </p:sp>
      <p:sp>
        <p:nvSpPr>
          <p:cNvPr id="7" name="Espace réservé du numéro de diapositive 6"/>
          <p:cNvSpPr>
            <a:spLocks noGrp="1"/>
          </p:cNvSpPr>
          <p:nvPr>
            <p:ph type="sldNum" sz="quarter" idx="5"/>
          </p:nvPr>
        </p:nvSpPr>
        <p:spPr>
          <a:xfrm>
            <a:off x="3850444" y="9430092"/>
            <a:ext cx="2945659" cy="498135"/>
          </a:xfrm>
          <a:prstGeom prst="rect">
            <a:avLst/>
          </a:prstGeom>
        </p:spPr>
        <p:txBody>
          <a:bodyPr vert="horz" lIns="91440" tIns="45720" rIns="91440" bIns="45720" rtlCol="0" anchor="b"/>
          <a:lstStyle>
            <a:lvl1pPr algn="r">
              <a:defRPr sz="1200"/>
            </a:lvl1pPr>
          </a:lstStyle>
          <a:p>
            <a:fld id="{69DEFE67-E4F7-40E0-B5A6-A5D4200167E1}" type="slidenum">
              <a:rPr lang="en-GB" smtClean="0"/>
              <a:t>‹#›</a:t>
            </a:fld>
            <a:endParaRPr lang="en-GB" dirty="0"/>
          </a:p>
        </p:txBody>
      </p:sp>
    </p:spTree>
    <p:extLst>
      <p:ext uri="{BB962C8B-B14F-4D97-AF65-F5344CB8AC3E}">
        <p14:creationId xmlns:p14="http://schemas.microsoft.com/office/powerpoint/2010/main" val="854621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package" Target="../embeddings/Microsoft_PowerPoint_Slide.sldx"/></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DEFE67-E4F7-40E0-B5A6-A5D4200167E1}"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0</a:t>
            </a:fld>
            <a:endParaRPr kumimoji="0" lang="en-GB"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578523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defRPr/>
            </a:pPr>
            <a:endParaRPr lang="fr-FR" noProof="0"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EFE67-E4F7-40E0-B5A6-A5D4200167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85180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9DEFE67-E4F7-40E0-B5A6-A5D4200167E1}" type="slidenum">
              <a:rPr lang="en-GB" smtClean="0"/>
              <a:t>12</a:t>
            </a:fld>
            <a:endParaRPr lang="en-GB" dirty="0"/>
          </a:p>
        </p:txBody>
      </p:sp>
    </p:spTree>
    <p:extLst>
      <p:ext uri="{BB962C8B-B14F-4D97-AF65-F5344CB8AC3E}">
        <p14:creationId xmlns:p14="http://schemas.microsoft.com/office/powerpoint/2010/main" val="14359926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defRPr/>
            </a:pPr>
            <a:endParaRPr lang="fr-FR" noProof="0"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EFE67-E4F7-40E0-B5A6-A5D4200167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10229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9DEFE67-E4F7-40E0-B5A6-A5D4200167E1}" type="slidenum">
              <a:rPr lang="en-GB" smtClean="0"/>
              <a:t>14</a:t>
            </a:fld>
            <a:endParaRPr lang="en-GB" dirty="0"/>
          </a:p>
        </p:txBody>
      </p:sp>
    </p:spTree>
    <p:extLst>
      <p:ext uri="{BB962C8B-B14F-4D97-AF65-F5344CB8AC3E}">
        <p14:creationId xmlns:p14="http://schemas.microsoft.com/office/powerpoint/2010/main" val="3981674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defRPr/>
            </a:pPr>
            <a:endParaRPr lang="fr-FR" noProof="0"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EFE67-E4F7-40E0-B5A6-A5D4200167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8826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defRPr/>
            </a:pPr>
            <a:endParaRPr lang="en-US" dirty="0"/>
          </a:p>
        </p:txBody>
      </p:sp>
      <p:sp>
        <p:nvSpPr>
          <p:cNvPr id="4" name="Espace réservé du numéro de diapositive 3"/>
          <p:cNvSpPr>
            <a:spLocks noGrp="1"/>
          </p:cNvSpPr>
          <p:nvPr>
            <p:ph type="sldNum" sz="quarter" idx="5"/>
          </p:nvPr>
        </p:nvSpPr>
        <p:spPr/>
        <p:txBody>
          <a:bodyPr/>
          <a:lstStyle/>
          <a:p>
            <a:fld id="{69DEFE67-E4F7-40E0-B5A6-A5D4200167E1}" type="slidenum">
              <a:rPr lang="en-GB" smtClean="0"/>
              <a:t>3</a:t>
            </a:fld>
            <a:endParaRPr lang="en-GB" dirty="0"/>
          </a:p>
        </p:txBody>
      </p:sp>
      <p:graphicFrame>
        <p:nvGraphicFramePr>
          <p:cNvPr id="5" name="Objet 4">
            <a:extLst>
              <a:ext uri="{FF2B5EF4-FFF2-40B4-BE49-F238E27FC236}">
                <a16:creationId xmlns:a16="http://schemas.microsoft.com/office/drawing/2014/main" id="{F4D9C2EA-A35E-4B72-B4BF-D0B266E4F58E}"/>
              </a:ext>
            </a:extLst>
          </p:cNvPr>
          <p:cNvGraphicFramePr>
            <a:graphicFrameLocks noChangeAspect="1"/>
          </p:cNvGraphicFramePr>
          <p:nvPr/>
        </p:nvGraphicFramePr>
        <p:xfrm>
          <a:off x="1103519" y="5333945"/>
          <a:ext cx="4590636" cy="2581709"/>
        </p:xfrm>
        <a:graphic>
          <a:graphicData uri="http://schemas.openxmlformats.org/presentationml/2006/ole">
            <mc:AlternateContent xmlns:mc="http://schemas.openxmlformats.org/markup-compatibility/2006">
              <mc:Choice xmlns:v="urn:schemas-microsoft-com:vml" Requires="v">
                <p:oleObj spid="_x0000_s155692" name="Slide" r:id="rId4" imgW="6094578" imgH="3427469" progId="PowerPoint.Slide.12">
                  <p:embed/>
                </p:oleObj>
              </mc:Choice>
              <mc:Fallback>
                <p:oleObj name="Slide" r:id="rId4" imgW="6094578" imgH="3427469" progId="PowerPoint.Slide.12">
                  <p:embed/>
                  <p:pic>
                    <p:nvPicPr>
                      <p:cNvPr id="5" name="Objet 4">
                        <a:extLst>
                          <a:ext uri="{FF2B5EF4-FFF2-40B4-BE49-F238E27FC236}">
                            <a16:creationId xmlns:a16="http://schemas.microsoft.com/office/drawing/2014/main" id="{F4D9C2EA-A35E-4B72-B4BF-D0B266E4F58E}"/>
                          </a:ext>
                        </a:extLst>
                      </p:cNvPr>
                      <p:cNvPicPr/>
                      <p:nvPr/>
                    </p:nvPicPr>
                    <p:blipFill>
                      <a:blip r:embed="rId5"/>
                      <a:stretch>
                        <a:fillRect/>
                      </a:stretch>
                    </p:blipFill>
                    <p:spPr>
                      <a:xfrm>
                        <a:off x="1103519" y="5333945"/>
                        <a:ext cx="4590636" cy="2581709"/>
                      </a:xfrm>
                      <a:prstGeom prst="rect">
                        <a:avLst/>
                      </a:prstGeom>
                    </p:spPr>
                  </p:pic>
                </p:oleObj>
              </mc:Fallback>
            </mc:AlternateContent>
          </a:graphicData>
        </a:graphic>
      </p:graphicFrame>
    </p:spTree>
    <p:extLst>
      <p:ext uri="{BB962C8B-B14F-4D97-AF65-F5344CB8AC3E}">
        <p14:creationId xmlns:p14="http://schemas.microsoft.com/office/powerpoint/2010/main" val="3162231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defRPr/>
            </a:pPr>
            <a:endParaRPr lang="fr-FR" i="0" noProof="0"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EFE67-E4F7-40E0-B5A6-A5D4200167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defRPr/>
            </a:pPr>
            <a:endParaRPr lang="fr-FR" sz="120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EFE67-E4F7-40E0-B5A6-A5D4200167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6499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9DEFE67-E4F7-40E0-B5A6-A5D4200167E1}" type="slidenum">
              <a:rPr lang="en-GB" smtClean="0"/>
              <a:t>7</a:t>
            </a:fld>
            <a:endParaRPr lang="en-GB" dirty="0"/>
          </a:p>
        </p:txBody>
      </p:sp>
    </p:spTree>
    <p:extLst>
      <p:ext uri="{BB962C8B-B14F-4D97-AF65-F5344CB8AC3E}">
        <p14:creationId xmlns:p14="http://schemas.microsoft.com/office/powerpoint/2010/main" val="32337810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ctr"/>
            <a:r>
              <a:rPr lang="en-GB" sz="1200" dirty="0">
                <a:solidFill>
                  <a:srgbClr val="501268"/>
                </a:solidFill>
              </a:rPr>
              <a:t>Services need to be </a:t>
            </a:r>
            <a:r>
              <a:rPr lang="en-GB" sz="1200" u="sng" dirty="0">
                <a:solidFill>
                  <a:srgbClr val="501268"/>
                </a:solidFill>
              </a:rPr>
              <a:t>delivered</a:t>
            </a:r>
            <a:r>
              <a:rPr lang="en-GB" sz="1200" dirty="0">
                <a:solidFill>
                  <a:srgbClr val="501268"/>
                </a:solidFill>
              </a:rPr>
              <a:t> to be funded by us (i.e. completed and accepted by the customer), which would allow Econocom to pay your invoice. The subscription contract would usually be expected to start after the implementation/set-up/transition works had been completed.</a:t>
            </a:r>
          </a:p>
          <a:p>
            <a:pPr algn="ctr"/>
            <a:endParaRPr lang="en-GB" sz="1200" dirty="0">
              <a:solidFill>
                <a:srgbClr val="501268"/>
              </a:solidFill>
            </a:endParaRPr>
          </a:p>
          <a:p>
            <a:pPr algn="ctr"/>
            <a:r>
              <a:rPr lang="en-GB" sz="1200" dirty="0">
                <a:solidFill>
                  <a:srgbClr val="501268"/>
                </a:solidFill>
              </a:rPr>
              <a:t>If there is an extended time from the date the initial equipment is delivered and the date the implementation/set-up/transition works etc. are completed, then a form of implementation contract may be needed to bridge the duration from when the initial invoice would be paid and the customer subscription contract starts. </a:t>
            </a:r>
          </a:p>
          <a:p>
            <a:pPr algn="ctr"/>
            <a:endParaRPr lang="en-GB" sz="1200" dirty="0">
              <a:solidFill>
                <a:srgbClr val="501268"/>
              </a:solidFill>
            </a:endParaRPr>
          </a:p>
          <a:p>
            <a:pPr algn="ctr"/>
            <a:r>
              <a:rPr lang="en-GB" sz="1200" dirty="0">
                <a:solidFill>
                  <a:srgbClr val="501268"/>
                </a:solidFill>
              </a:rPr>
              <a:t>For shorter implementation periods (i.e. 3 months), the subscription contract can accommodate known implementation/set-up/transition works costs with a delayed rental start (“buy now, pay later”).</a:t>
            </a:r>
          </a:p>
          <a:p>
            <a:pPr algn="ctr"/>
            <a:endParaRPr lang="en-GB" sz="1200" dirty="0">
              <a:solidFill>
                <a:srgbClr val="501268"/>
              </a:solidFill>
            </a:endParaRPr>
          </a:p>
          <a:p>
            <a:pPr algn="ctr"/>
            <a:r>
              <a:rPr lang="en-GB" sz="1200" dirty="0">
                <a:solidFill>
                  <a:srgbClr val="501268"/>
                </a:solidFill>
              </a:rPr>
              <a:t>What </a:t>
            </a:r>
            <a:r>
              <a:rPr lang="en-GB" sz="1200" u="sng" dirty="0">
                <a:solidFill>
                  <a:srgbClr val="501268"/>
                </a:solidFill>
              </a:rPr>
              <a:t>can not </a:t>
            </a:r>
            <a:r>
              <a:rPr lang="en-GB" sz="1200" dirty="0">
                <a:solidFill>
                  <a:srgbClr val="501268"/>
                </a:solidFill>
              </a:rPr>
              <a:t>be included in the subscription are on-going services that are performed/delivered during the course of the subscription period, even if these costs are known and fixed in value.  These would normally be expected to be billed to the client over the term of your service contract when they occur/are performed.</a:t>
            </a:r>
          </a:p>
          <a:p>
            <a:pPr marL="171450" indent="-171450">
              <a:buFontTx/>
              <a:buChar char="-"/>
              <a:defRPr/>
            </a:pPr>
            <a:endParaRPr lang="fr-FR" sz="120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EFE67-E4F7-40E0-B5A6-A5D4200167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4934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defRPr/>
            </a:pPr>
            <a:endParaRPr lang="fr-FR" noProof="0"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EFE67-E4F7-40E0-B5A6-A5D4200167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0748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defRPr/>
            </a:pPr>
            <a:endParaRPr lang="fr-FR" noProof="0"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EFE67-E4F7-40E0-B5A6-A5D4200167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6663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sposition personnalisé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307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ommaire violet">
    <p:bg>
      <p:bgPr>
        <a:solidFill>
          <a:schemeClr val="tx2"/>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bg1"/>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Tree>
    <p:extLst>
      <p:ext uri="{BB962C8B-B14F-4D97-AF65-F5344CB8AC3E}">
        <p14:creationId xmlns:p14="http://schemas.microsoft.com/office/powerpoint/2010/main" val="21447635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ommaire Blanc">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tx2"/>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
        <p:nvSpPr>
          <p:cNvPr id="6" name="Freeform 5">
            <a:extLst>
              <a:ext uri="{FF2B5EF4-FFF2-40B4-BE49-F238E27FC236}">
                <a16:creationId xmlns:a16="http://schemas.microsoft.com/office/drawing/2014/main" id="{F8E3B9C8-10DF-49C3-98AD-9648E90DFBBE}"/>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rgbClr val="3F2381"/>
          </a:solidFill>
          <a:ln>
            <a:noFill/>
          </a:ln>
        </p:spPr>
        <p:txBody>
          <a:bodyPr vert="horz" wrap="square" lIns="91440" tIns="45720" rIns="91440" bIns="45720" numCol="1" anchor="t" anchorCtr="0" compatLnSpc="1">
            <a:prstTxWarp prst="textNoShape">
              <a:avLst/>
            </a:prstTxWarp>
          </a:bodyPr>
          <a:lstStyle/>
          <a:p>
            <a:endParaRPr lang="fr-FR" dirty="0">
              <a:solidFill>
                <a:srgbClr val="3F238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8853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ENERAL - merci">
    <p:bg>
      <p:bgPr>
        <a:solidFill>
          <a:schemeClr val="tx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C50DCE55-0914-418C-838D-74D38308EFDD}"/>
              </a:ext>
            </a:extLst>
          </p:cNvPr>
          <p:cNvSpPr>
            <a:spLocks noEditPoints="1"/>
          </p:cNvSpPr>
          <p:nvPr/>
        </p:nvSpPr>
        <p:spPr bwMode="auto">
          <a:xfrm>
            <a:off x="4808841" y="5956852"/>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6A38B8CE-E1A2-4BA0-AC9D-0E15EF70E3B1}"/>
              </a:ext>
            </a:extLst>
          </p:cNvPr>
          <p:cNvSpPr>
            <a:spLocks noGrp="1"/>
          </p:cNvSpPr>
          <p:nvPr>
            <p:ph type="ctrTitle" hasCustomPrompt="1"/>
          </p:nvPr>
        </p:nvSpPr>
        <p:spPr>
          <a:xfrm>
            <a:off x="1109784" y="2182122"/>
            <a:ext cx="9972431" cy="2281565"/>
          </a:xfrm>
          <a:prstGeom prst="rect">
            <a:avLst/>
          </a:prstGeom>
        </p:spPr>
        <p:txBody>
          <a:bodyPr anchor="t"/>
          <a:lstStyle>
            <a:lvl1pPr marL="0" algn="ctr" defTabSz="914400" rtl="0" eaLnBrk="1" latinLnBrk="0" hangingPunct="1">
              <a:lnSpc>
                <a:spcPct val="100000"/>
              </a:lnSpc>
              <a:defRPr lang="fr-FR" sz="14400" b="1" i="0" kern="1200" cap="none" spc="-300" baseline="0" dirty="0">
                <a:solidFill>
                  <a:schemeClr val="bg1"/>
                </a:solidFill>
                <a:latin typeface="Arial" panose="020B0604020202020204" pitchFamily="34" charset="0"/>
                <a:ea typeface="Montserrat" charset="0"/>
                <a:cs typeface="Arial" panose="020B0604020202020204" pitchFamily="34" charset="0"/>
              </a:defRPr>
            </a:lvl1pPr>
          </a:lstStyle>
          <a:p>
            <a:r>
              <a:rPr lang="fr-FR"/>
              <a:t>Merci</a:t>
            </a:r>
            <a:endParaRPr lang="fr-FR" dirty="0"/>
          </a:p>
        </p:txBody>
      </p:sp>
    </p:spTree>
    <p:extLst>
      <p:ext uri="{BB962C8B-B14F-4D97-AF65-F5344CB8AC3E}">
        <p14:creationId xmlns:p14="http://schemas.microsoft.com/office/powerpoint/2010/main" val="9544445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hapitre - couleur 1">
    <p:bg>
      <p:bgPr>
        <a:solidFill>
          <a:schemeClr val="tx2"/>
        </a:solidFill>
        <a:effectLst/>
      </p:bgPr>
    </p:bg>
    <p:spTree>
      <p:nvGrpSpPr>
        <p:cNvPr id="1" name=""/>
        <p:cNvGrpSpPr/>
        <p:nvPr/>
      </p:nvGrpSpPr>
      <p:grpSpPr>
        <a:xfrm>
          <a:off x="0" y="0"/>
          <a:ext cx="0" cy="0"/>
          <a:chOff x="0" y="0"/>
          <a:chExt cx="0" cy="0"/>
        </a:xfrm>
      </p:grpSpPr>
      <p:sp>
        <p:nvSpPr>
          <p:cNvPr id="8" name="Forme libre : forme 7">
            <a:extLst>
              <a:ext uri="{FF2B5EF4-FFF2-40B4-BE49-F238E27FC236}">
                <a16:creationId xmlns:a16="http://schemas.microsoft.com/office/drawing/2014/main" id="{46B4955B-E954-4D1C-A8AC-F819D9523177}"/>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5"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2548608" y="2360258"/>
            <a:ext cx="3777671" cy="2085293"/>
          </a:xfrm>
          <a:prstGeom prst="rect">
            <a:avLst/>
          </a:prstGeom>
        </p:spPr>
        <p:txBody>
          <a:bodyPr anchor="t">
            <a:noAutofit/>
          </a:bodyPr>
          <a:lstStyle>
            <a:lvl1pPr algn="l">
              <a:defRPr kumimoji="0" lang="fr-FR" sz="5400" b="1" i="0" u="none" strike="noStrike" kern="1200" cap="none" spc="0" normalizeH="0" baseline="0" dirty="0">
                <a:ln>
                  <a:noFill/>
                </a:ln>
                <a:solidFill>
                  <a:prstClr val="white"/>
                </a:solidFill>
                <a:effectLst/>
                <a:uLnTx/>
                <a:uFillTx/>
                <a:latin typeface="Arial" panose="020B0604020202020204" pitchFamily="34" charset="0"/>
                <a:ea typeface="Arial"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Titre </a:t>
            </a:r>
            <a:r>
              <a:rPr lang="fr-FR" dirty="0" err="1"/>
              <a:t>lorem</a:t>
            </a:r>
            <a:r>
              <a:rPr lang="fr-FR" dirty="0"/>
              <a:t> </a:t>
            </a:r>
            <a:br>
              <a:rPr lang="fr-FR" dirty="0"/>
            </a:br>
            <a:r>
              <a:rPr lang="fr-FR" dirty="0"/>
              <a:t>ipsum</a:t>
            </a:r>
          </a:p>
        </p:txBody>
      </p:sp>
      <p:sp>
        <p:nvSpPr>
          <p:cNvPr id="15" name="Espace réservé du texte 14">
            <a:extLst>
              <a:ext uri="{FF2B5EF4-FFF2-40B4-BE49-F238E27FC236}">
                <a16:creationId xmlns:a16="http://schemas.microsoft.com/office/drawing/2014/main" id="{57954682-473A-4564-A864-BF745DBA7CD4}"/>
              </a:ext>
            </a:extLst>
          </p:cNvPr>
          <p:cNvSpPr>
            <a:spLocks noGrp="1"/>
          </p:cNvSpPr>
          <p:nvPr>
            <p:ph type="body" sz="quarter" idx="12" hasCustomPrompt="1"/>
          </p:nvPr>
        </p:nvSpPr>
        <p:spPr>
          <a:xfrm>
            <a:off x="2323745" y="602896"/>
            <a:ext cx="2775379" cy="1998662"/>
          </a:xfrm>
        </p:spPr>
        <p:txBody>
          <a:bodyPr/>
          <a:lstStyle>
            <a:lvl1pPr marL="0" indent="0">
              <a:buNone/>
              <a:defRPr lang="fr-FR" sz="14400" b="1" i="0" kern="1200" cap="none" spc="-300" baseline="0" dirty="0" smtClean="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914400" rtl="0" eaLnBrk="1" latinLnBrk="0" hangingPunct="1">
              <a:lnSpc>
                <a:spcPct val="90000"/>
              </a:lnSpc>
              <a:spcBef>
                <a:spcPct val="0"/>
              </a:spcBef>
              <a:buFont typeface="+mj-lt"/>
              <a:buNone/>
            </a:pPr>
            <a:r>
              <a:rPr lang="fr-FR" dirty="0"/>
              <a:t>01</a:t>
            </a:r>
          </a:p>
        </p:txBody>
      </p:sp>
    </p:spTree>
    <p:extLst>
      <p:ext uri="{BB962C8B-B14F-4D97-AF65-F5344CB8AC3E}">
        <p14:creationId xmlns:p14="http://schemas.microsoft.com/office/powerpoint/2010/main" val="103097214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hapitre - couleur 2">
    <p:bg>
      <p:bgPr>
        <a:solidFill>
          <a:srgbClr val="A954F3"/>
        </a:solidFill>
        <a:effectLst/>
      </p:bgPr>
    </p:bg>
    <p:spTree>
      <p:nvGrpSpPr>
        <p:cNvPr id="1" name=""/>
        <p:cNvGrpSpPr/>
        <p:nvPr/>
      </p:nvGrpSpPr>
      <p:grpSpPr>
        <a:xfrm>
          <a:off x="0" y="0"/>
          <a:ext cx="0" cy="0"/>
          <a:chOff x="0" y="0"/>
          <a:chExt cx="0" cy="0"/>
        </a:xfrm>
      </p:grpSpPr>
      <p:sp>
        <p:nvSpPr>
          <p:cNvPr id="6" name="Forme libre : forme 5">
            <a:extLst>
              <a:ext uri="{FF2B5EF4-FFF2-40B4-BE49-F238E27FC236}">
                <a16:creationId xmlns:a16="http://schemas.microsoft.com/office/drawing/2014/main" id="{08A66C0B-7A91-49D1-B6DC-75E2CABB243D}"/>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10" name="Titre 1">
            <a:extLst>
              <a:ext uri="{FF2B5EF4-FFF2-40B4-BE49-F238E27FC236}">
                <a16:creationId xmlns:a16="http://schemas.microsoft.com/office/drawing/2014/main" id="{EE69A519-AD58-4C3A-B352-6640C7E8B143}"/>
              </a:ext>
            </a:extLst>
          </p:cNvPr>
          <p:cNvSpPr>
            <a:spLocks noGrp="1"/>
          </p:cNvSpPr>
          <p:nvPr>
            <p:ph type="ctrTitle" hasCustomPrompt="1"/>
          </p:nvPr>
        </p:nvSpPr>
        <p:spPr>
          <a:xfrm>
            <a:off x="2553987"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E2D991CF-D89E-47DF-9E4C-C96B50AB65CA}"/>
              </a:ext>
            </a:extLst>
          </p:cNvPr>
          <p:cNvSpPr>
            <a:spLocks noGrp="1"/>
          </p:cNvSpPr>
          <p:nvPr>
            <p:ph type="body" sz="quarter" idx="10" hasCustomPrompt="1"/>
          </p:nvPr>
        </p:nvSpPr>
        <p:spPr>
          <a:xfrm>
            <a:off x="2323746" y="602896"/>
            <a:ext cx="2797175" cy="1998662"/>
          </a:xfrm>
        </p:spPr>
        <p:txBody>
          <a:bodyPr/>
          <a:lstStyle>
            <a:lvl1pPr marL="0" indent="0">
              <a:buNone/>
              <a:defRPr sz="14400">
                <a:solidFill>
                  <a:schemeClr val="bg1"/>
                </a:solidFill>
              </a:defRPr>
            </a:lvl1pPr>
          </a:lstStyle>
          <a:p>
            <a:pPr lvl="0"/>
            <a:r>
              <a:rPr lang="fr-FR" dirty="0"/>
              <a:t>02</a:t>
            </a:r>
          </a:p>
        </p:txBody>
      </p:sp>
    </p:spTree>
    <p:extLst>
      <p:ext uri="{BB962C8B-B14F-4D97-AF65-F5344CB8AC3E}">
        <p14:creationId xmlns:p14="http://schemas.microsoft.com/office/powerpoint/2010/main" val="20490088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hapitre - couleur 3">
    <p:bg>
      <p:bgPr>
        <a:solidFill>
          <a:schemeClr val="accent5"/>
        </a:solidFill>
        <a:effectLst/>
      </p:bgPr>
    </p:bg>
    <p:spTree>
      <p:nvGrpSpPr>
        <p:cNvPr id="1" name=""/>
        <p:cNvGrpSpPr/>
        <p:nvPr/>
      </p:nvGrpSpPr>
      <p:grpSpPr>
        <a:xfrm>
          <a:off x="0" y="0"/>
          <a:ext cx="0" cy="0"/>
          <a:chOff x="0" y="0"/>
          <a:chExt cx="0" cy="0"/>
        </a:xfrm>
      </p:grpSpPr>
      <p:sp>
        <p:nvSpPr>
          <p:cNvPr id="6" name="Forme libre : forme 5">
            <a:extLst>
              <a:ext uri="{FF2B5EF4-FFF2-40B4-BE49-F238E27FC236}">
                <a16:creationId xmlns:a16="http://schemas.microsoft.com/office/drawing/2014/main" id="{BC1F219E-6EE5-45E1-95BF-24AF2AE9B670}"/>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7" name="Titre 1">
            <a:extLst>
              <a:ext uri="{FF2B5EF4-FFF2-40B4-BE49-F238E27FC236}">
                <a16:creationId xmlns:a16="http://schemas.microsoft.com/office/drawing/2014/main" id="{7E4C8E49-10A8-4B97-A07C-9996B4509580}"/>
              </a:ext>
            </a:extLst>
          </p:cNvPr>
          <p:cNvSpPr>
            <a:spLocks noGrp="1"/>
          </p:cNvSpPr>
          <p:nvPr>
            <p:ph type="ctrTitle" hasCustomPrompt="1"/>
          </p:nvPr>
        </p:nvSpPr>
        <p:spPr>
          <a:xfrm>
            <a:off x="2547579" y="2360258"/>
            <a:ext cx="3784319"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0A5045EE-9823-4299-B2AD-149B222C233B}"/>
              </a:ext>
            </a:extLst>
          </p:cNvPr>
          <p:cNvSpPr>
            <a:spLocks noGrp="1"/>
          </p:cNvSpPr>
          <p:nvPr>
            <p:ph type="body" sz="quarter" idx="10" hasCustomPrompt="1"/>
          </p:nvPr>
        </p:nvSpPr>
        <p:spPr>
          <a:xfrm>
            <a:off x="2323746" y="592138"/>
            <a:ext cx="2786062"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3</a:t>
            </a:r>
          </a:p>
        </p:txBody>
      </p:sp>
    </p:spTree>
    <p:extLst>
      <p:ext uri="{BB962C8B-B14F-4D97-AF65-F5344CB8AC3E}">
        <p14:creationId xmlns:p14="http://schemas.microsoft.com/office/powerpoint/2010/main" val="1370911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hapitre - couleur 4">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A6029C02-FF1D-4946-B0E8-50832E90EF58}"/>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10" name="Titre 1">
            <a:extLst>
              <a:ext uri="{FF2B5EF4-FFF2-40B4-BE49-F238E27FC236}">
                <a16:creationId xmlns:a16="http://schemas.microsoft.com/office/drawing/2014/main" id="{8B777760-0DDA-4E7E-AD3C-49A729EBF753}"/>
              </a:ext>
            </a:extLst>
          </p:cNvPr>
          <p:cNvSpPr>
            <a:spLocks noGrp="1"/>
          </p:cNvSpPr>
          <p:nvPr>
            <p:ph type="ctrTitle" hasCustomPrompt="1"/>
          </p:nvPr>
        </p:nvSpPr>
        <p:spPr>
          <a:xfrm>
            <a:off x="2547583" y="2357536"/>
            <a:ext cx="3777671" cy="2089052"/>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16BE4419-5819-4E16-B314-B7BBE4C60903}"/>
              </a:ext>
            </a:extLst>
          </p:cNvPr>
          <p:cNvSpPr>
            <a:spLocks noGrp="1"/>
          </p:cNvSpPr>
          <p:nvPr>
            <p:ph type="body" sz="quarter" idx="10" hasCustomPrompt="1"/>
          </p:nvPr>
        </p:nvSpPr>
        <p:spPr>
          <a:xfrm>
            <a:off x="2312988" y="592138"/>
            <a:ext cx="2786062"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4</a:t>
            </a:r>
          </a:p>
        </p:txBody>
      </p:sp>
    </p:spTree>
    <p:extLst>
      <p:ext uri="{BB962C8B-B14F-4D97-AF65-F5344CB8AC3E}">
        <p14:creationId xmlns:p14="http://schemas.microsoft.com/office/powerpoint/2010/main" val="10015779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hapitre - couleur 5">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EFAE98A2-8138-4EE9-A8BE-5A0AFAE9122D}"/>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9" name="Titre 1">
            <a:extLst>
              <a:ext uri="{FF2B5EF4-FFF2-40B4-BE49-F238E27FC236}">
                <a16:creationId xmlns:a16="http://schemas.microsoft.com/office/drawing/2014/main" id="{4540555D-49F7-4ED2-A528-60D56A5F6794}"/>
              </a:ext>
            </a:extLst>
          </p:cNvPr>
          <p:cNvSpPr>
            <a:spLocks noGrp="1"/>
          </p:cNvSpPr>
          <p:nvPr>
            <p:ph type="ctrTitle" hasCustomPrompt="1"/>
          </p:nvPr>
        </p:nvSpPr>
        <p:spPr>
          <a:xfrm>
            <a:off x="2547583" y="2351180"/>
            <a:ext cx="3777671" cy="2095408"/>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41B28701-941F-4C97-AD87-1B8D6E4B30CE}"/>
              </a:ext>
            </a:extLst>
          </p:cNvPr>
          <p:cNvSpPr>
            <a:spLocks noGrp="1"/>
          </p:cNvSpPr>
          <p:nvPr>
            <p:ph type="body" sz="quarter" idx="10" hasCustomPrompt="1"/>
          </p:nvPr>
        </p:nvSpPr>
        <p:spPr>
          <a:xfrm>
            <a:off x="2323746" y="602896"/>
            <a:ext cx="2797175"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5</a:t>
            </a:r>
          </a:p>
        </p:txBody>
      </p:sp>
    </p:spTree>
    <p:extLst>
      <p:ext uri="{BB962C8B-B14F-4D97-AF65-F5344CB8AC3E}">
        <p14:creationId xmlns:p14="http://schemas.microsoft.com/office/powerpoint/2010/main" val="24350565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pitre - couleur 6">
    <p:bg>
      <p:bgPr>
        <a:solidFill>
          <a:schemeClr val="accent4"/>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7BEED087-F2FD-4906-8C61-61A7C5DBF264}"/>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032A1E69-C3B5-4A64-938E-FB5B8479C75A}"/>
              </a:ext>
            </a:extLst>
          </p:cNvPr>
          <p:cNvSpPr>
            <a:spLocks noGrp="1"/>
          </p:cNvSpPr>
          <p:nvPr>
            <p:ph type="ctrTitle" hasCustomPrompt="1"/>
          </p:nvPr>
        </p:nvSpPr>
        <p:spPr>
          <a:xfrm>
            <a:off x="2547583"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endParaRPr lang="fr-FR" dirty="0"/>
          </a:p>
        </p:txBody>
      </p:sp>
      <p:sp>
        <p:nvSpPr>
          <p:cNvPr id="3" name="Espace réservé du texte 2">
            <a:extLst>
              <a:ext uri="{FF2B5EF4-FFF2-40B4-BE49-F238E27FC236}">
                <a16:creationId xmlns:a16="http://schemas.microsoft.com/office/drawing/2014/main" id="{908FFF5E-B233-4CF2-8E7D-DFF511C3A171}"/>
              </a:ext>
            </a:extLst>
          </p:cNvPr>
          <p:cNvSpPr>
            <a:spLocks noGrp="1"/>
          </p:cNvSpPr>
          <p:nvPr>
            <p:ph type="body" sz="quarter" idx="10" hasCustomPrompt="1"/>
          </p:nvPr>
        </p:nvSpPr>
        <p:spPr>
          <a:xfrm>
            <a:off x="2312988" y="592138"/>
            <a:ext cx="2797175"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6</a:t>
            </a:r>
          </a:p>
        </p:txBody>
      </p:sp>
    </p:spTree>
    <p:extLst>
      <p:ext uri="{BB962C8B-B14F-4D97-AF65-F5344CB8AC3E}">
        <p14:creationId xmlns:p14="http://schemas.microsoft.com/office/powerpoint/2010/main" val="16244860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pitre - couleur 7">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9B918CD8-03E5-4DBF-B058-8714A6F9F991}"/>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36201EFC-76F8-4DC5-813E-EECEF163CA3C}"/>
              </a:ext>
            </a:extLst>
          </p:cNvPr>
          <p:cNvSpPr>
            <a:spLocks noGrp="1"/>
          </p:cNvSpPr>
          <p:nvPr>
            <p:ph type="ctrTitle" hasCustomPrompt="1"/>
          </p:nvPr>
        </p:nvSpPr>
        <p:spPr>
          <a:xfrm>
            <a:off x="2551992"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5B8191F3-624C-4754-B027-319858716A32}"/>
              </a:ext>
            </a:extLst>
          </p:cNvPr>
          <p:cNvSpPr>
            <a:spLocks noGrp="1"/>
          </p:cNvSpPr>
          <p:nvPr>
            <p:ph type="body" sz="quarter" idx="10" hasCustomPrompt="1"/>
          </p:nvPr>
        </p:nvSpPr>
        <p:spPr>
          <a:xfrm>
            <a:off x="2312988" y="592138"/>
            <a:ext cx="2808287"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7</a:t>
            </a:r>
          </a:p>
        </p:txBody>
      </p:sp>
    </p:spTree>
    <p:extLst>
      <p:ext uri="{BB962C8B-B14F-4D97-AF65-F5344CB8AC3E}">
        <p14:creationId xmlns:p14="http://schemas.microsoft.com/office/powerpoint/2010/main" val="24084195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142131-66CE-48F4-85AF-0AB2F9C1E4FB}"/>
              </a:ext>
            </a:extLst>
          </p:cNvPr>
          <p:cNvSpPr>
            <a:spLocks noGrp="1"/>
          </p:cNvSpPr>
          <p:nvPr>
            <p:ph type="title"/>
          </p:nvPr>
        </p:nvSpPr>
        <p:spPr/>
        <p:txBody>
          <a:bodyPr/>
          <a:lstStyle/>
          <a:p>
            <a:r>
              <a:rPr lang="fr-FR" dirty="0"/>
              <a:t>Modifiez le style du titre</a:t>
            </a:r>
            <a:endParaRPr lang="fr-BE" dirty="0"/>
          </a:p>
        </p:txBody>
      </p:sp>
      <p:sp>
        <p:nvSpPr>
          <p:cNvPr id="5" name="Espace réservé du pied de page 4">
            <a:extLst>
              <a:ext uri="{FF2B5EF4-FFF2-40B4-BE49-F238E27FC236}">
                <a16:creationId xmlns:a16="http://schemas.microsoft.com/office/drawing/2014/main" id="{F35831D2-515A-4D89-A4B4-214CCAB8808B}"/>
              </a:ext>
            </a:extLst>
          </p:cNvPr>
          <p:cNvSpPr>
            <a:spLocks noGrp="1"/>
          </p:cNvSpPr>
          <p:nvPr>
            <p:ph type="ftr" sz="quarter" idx="11"/>
          </p:nvPr>
        </p:nvSpPr>
        <p:spPr/>
        <p:txBody>
          <a:bodyPr/>
          <a:lstStyle/>
          <a:p>
            <a:r>
              <a:rPr lang="fr-BE" dirty="0"/>
              <a:t>2019 Full-</a:t>
            </a:r>
            <a:r>
              <a:rPr lang="fr-BE" dirty="0" err="1"/>
              <a:t>Year</a:t>
            </a:r>
            <a:r>
              <a:rPr lang="fr-BE" dirty="0"/>
              <a:t> </a:t>
            </a:r>
            <a:r>
              <a:rPr lang="fr-BE" dirty="0" err="1"/>
              <a:t>Results</a:t>
            </a:r>
            <a:endParaRPr lang="fr-BE" dirty="0"/>
          </a:p>
        </p:txBody>
      </p:sp>
      <p:sp>
        <p:nvSpPr>
          <p:cNvPr id="6" name="Espace réservé du numéro de diapositive 5">
            <a:extLst>
              <a:ext uri="{FF2B5EF4-FFF2-40B4-BE49-F238E27FC236}">
                <a16:creationId xmlns:a16="http://schemas.microsoft.com/office/drawing/2014/main" id="{9B8C4F08-7904-478B-99B4-EFF4BC248EE5}"/>
              </a:ext>
            </a:extLst>
          </p:cNvPr>
          <p:cNvSpPr>
            <a:spLocks noGrp="1"/>
          </p:cNvSpPr>
          <p:nvPr>
            <p:ph type="sldNum" sz="quarter" idx="12"/>
          </p:nvPr>
        </p:nvSpPr>
        <p:spPr/>
        <p:txBody>
          <a:bodyPr/>
          <a:lstStyle/>
          <a:p>
            <a:fld id="{D172F2D7-8D2E-41D8-8B7A-3CD5C504D6A7}" type="slidenum">
              <a:rPr lang="fr-BE" smtClean="0"/>
              <a:t>‹#›</a:t>
            </a:fld>
            <a:endParaRPr lang="fr-BE"/>
          </a:p>
        </p:txBody>
      </p:sp>
    </p:spTree>
    <p:extLst>
      <p:ext uri="{BB962C8B-B14F-4D97-AF65-F5344CB8AC3E}">
        <p14:creationId xmlns:p14="http://schemas.microsoft.com/office/powerpoint/2010/main" val="38214694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ommaire chapitre">
    <p:spTree>
      <p:nvGrpSpPr>
        <p:cNvPr id="1" name=""/>
        <p:cNvGrpSpPr/>
        <p:nvPr/>
      </p:nvGrpSpPr>
      <p:grpSpPr>
        <a:xfrm>
          <a:off x="0" y="0"/>
          <a:ext cx="0" cy="0"/>
          <a:chOff x="0" y="0"/>
          <a:chExt cx="0" cy="0"/>
        </a:xfrm>
      </p:grpSpPr>
      <p:sp>
        <p:nvSpPr>
          <p:cNvPr id="11" name="Espace réservé du texte 5">
            <a:extLst>
              <a:ext uri="{FF2B5EF4-FFF2-40B4-BE49-F238E27FC236}">
                <a16:creationId xmlns:a16="http://schemas.microsoft.com/office/drawing/2014/main" id="{27C16BB3-6421-4A83-B0C9-DBE4919C18F4}"/>
              </a:ext>
            </a:extLst>
          </p:cNvPr>
          <p:cNvSpPr>
            <a:spLocks noGrp="1"/>
          </p:cNvSpPr>
          <p:nvPr>
            <p:ph type="body" sz="quarter" idx="12" hasCustomPrompt="1"/>
          </p:nvPr>
        </p:nvSpPr>
        <p:spPr>
          <a:xfrm>
            <a:off x="838800" y="1022400"/>
            <a:ext cx="10441975" cy="1508414"/>
          </a:xfrm>
          <a:prstGeom prst="rect">
            <a:avLst/>
          </a:prstGeom>
        </p:spPr>
        <p:txBody>
          <a:bodyPr anchor="t" anchorCtr="0"/>
          <a:lstStyle>
            <a:lvl1pPr marL="0" marR="0" indent="0" algn="l" defTabSz="914400" rtl="0" eaLnBrk="1" fontAlgn="auto" latinLnBrk="0" hangingPunct="1">
              <a:lnSpc>
                <a:spcPct val="90000"/>
              </a:lnSpc>
              <a:spcBef>
                <a:spcPct val="0"/>
              </a:spcBef>
              <a:spcAft>
                <a:spcPts val="0"/>
              </a:spcAft>
              <a:buClrTx/>
              <a:buSzTx/>
              <a:buFontTx/>
              <a:buNone/>
              <a:tabLst/>
              <a:defRPr lang="fr-FR" sz="2800" b="1" kern="1200" cap="none" spc="0" baseline="0" dirty="0">
                <a:solidFill>
                  <a:schemeClr val="tx2"/>
                </a:solidFill>
                <a:latin typeface="Arial" panose="020B0604020202020204" pitchFamily="34" charset="0"/>
                <a:ea typeface="Arial" charset="0"/>
                <a:cs typeface="Arial" panose="020B0604020202020204" pitchFamily="34" charset="0"/>
              </a:defRPr>
            </a:lvl1pPr>
          </a:lstStyle>
          <a:p>
            <a:pPr lvl="0"/>
            <a:r>
              <a:rPr lang="fr-FR" sz="2800">
                <a:solidFill>
                  <a:schemeClr val="tx1"/>
                </a:solidFill>
                <a:latin typeface="Arial" panose="020B0604020202020204" pitchFamily="34" charset="0"/>
                <a:cs typeface="Arial" panose="020B0604020202020204" pitchFamily="34" charset="0"/>
              </a:rPr>
              <a:t>1.1 </a:t>
            </a:r>
            <a:r>
              <a:rPr lang="fr-FR"/>
              <a:t>Sous-titre</a:t>
            </a:r>
            <a:endParaRPr lang="fr-FR" dirty="0"/>
          </a:p>
        </p:txBody>
      </p:sp>
      <p:sp>
        <p:nvSpPr>
          <p:cNvPr id="2" name="Espace réservé du pied de page 1">
            <a:extLst>
              <a:ext uri="{FF2B5EF4-FFF2-40B4-BE49-F238E27FC236}">
                <a16:creationId xmlns:a16="http://schemas.microsoft.com/office/drawing/2014/main" id="{090ECECF-F8EE-472F-AAAC-77516672C0AA}"/>
              </a:ext>
            </a:extLst>
          </p:cNvPr>
          <p:cNvSpPr>
            <a:spLocks noGrp="1"/>
          </p:cNvSpPr>
          <p:nvPr>
            <p:ph type="ftr" sz="quarter" idx="13"/>
          </p:nvPr>
        </p:nvSpPr>
        <p:spPr/>
        <p:txBody>
          <a:bodyPr/>
          <a:lstStyle/>
          <a:p>
            <a:endParaRPr lang="fr-FR"/>
          </a:p>
        </p:txBody>
      </p:sp>
      <p:sp>
        <p:nvSpPr>
          <p:cNvPr id="3" name="Espace réservé du numéro de diapositive 2">
            <a:extLst>
              <a:ext uri="{FF2B5EF4-FFF2-40B4-BE49-F238E27FC236}">
                <a16:creationId xmlns:a16="http://schemas.microsoft.com/office/drawing/2014/main" id="{35EB5593-5AB2-4459-A5A0-245869585A7E}"/>
              </a:ext>
            </a:extLst>
          </p:cNvPr>
          <p:cNvSpPr>
            <a:spLocks noGrp="1"/>
          </p:cNvSpPr>
          <p:nvPr>
            <p:ph type="sldNum" sz="quarter" idx="14"/>
          </p:nvPr>
        </p:nvSpPr>
        <p:spPr/>
        <p:txBody>
          <a:bodyPr/>
          <a:lstStyle/>
          <a:p>
            <a:fld id="{A5C7A32D-1116-4AE8-97EF-D42A2B21677D}" type="slidenum">
              <a:rPr lang="fr-FR" smtClean="0"/>
              <a:t>‹#›</a:t>
            </a:fld>
            <a:endParaRPr lang="fr-FR"/>
          </a:p>
        </p:txBody>
      </p:sp>
      <p:sp>
        <p:nvSpPr>
          <p:cNvPr id="6" name="Titre 5">
            <a:extLst>
              <a:ext uri="{FF2B5EF4-FFF2-40B4-BE49-F238E27FC236}">
                <a16:creationId xmlns:a16="http://schemas.microsoft.com/office/drawing/2014/main" id="{8660AA14-17CC-44B4-8530-F53B98A1819A}"/>
              </a:ext>
            </a:extLst>
          </p:cNvPr>
          <p:cNvSpPr>
            <a:spLocks noGrp="1"/>
          </p:cNvSpPr>
          <p:nvPr>
            <p:ph type="title" hasCustomPrompt="1"/>
          </p:nvPr>
        </p:nvSpPr>
        <p:spPr/>
        <p:txBody>
          <a:bodyPr/>
          <a:lstStyle>
            <a:lvl1pPr>
              <a:defRPr/>
            </a:lvl1pPr>
          </a:lstStyle>
          <a:p>
            <a:r>
              <a:rPr lang="fr-FR"/>
              <a:t>Titre chapitre </a:t>
            </a:r>
          </a:p>
        </p:txBody>
      </p:sp>
    </p:spTree>
    <p:extLst>
      <p:ext uri="{BB962C8B-B14F-4D97-AF65-F5344CB8AC3E}">
        <p14:creationId xmlns:p14="http://schemas.microsoft.com/office/powerpoint/2010/main" val="36306637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re et contenu 1">
    <p:spTree>
      <p:nvGrpSpPr>
        <p:cNvPr id="1" name=""/>
        <p:cNvGrpSpPr/>
        <p:nvPr/>
      </p:nvGrpSpPr>
      <p:grpSpPr>
        <a:xfrm>
          <a:off x="0" y="0"/>
          <a:ext cx="0" cy="0"/>
          <a:chOff x="0" y="0"/>
          <a:chExt cx="0" cy="0"/>
        </a:xfrm>
      </p:grpSpPr>
      <p:sp>
        <p:nvSpPr>
          <p:cNvPr id="9" name="Espace réservé du pied de page 8">
            <a:extLst>
              <a:ext uri="{FF2B5EF4-FFF2-40B4-BE49-F238E27FC236}">
                <a16:creationId xmlns:a16="http://schemas.microsoft.com/office/drawing/2014/main" id="{EA13E3DF-15F4-4B75-83F6-023D046F2F55}"/>
              </a:ext>
            </a:extLst>
          </p:cNvPr>
          <p:cNvSpPr>
            <a:spLocks noGrp="1"/>
          </p:cNvSpPr>
          <p:nvPr>
            <p:ph type="ftr" sz="quarter" idx="10"/>
          </p:nvPr>
        </p:nvSpPr>
        <p:spPr/>
        <p:txBody>
          <a:bodyPr/>
          <a:lstStyle/>
          <a:p>
            <a:endParaRPr lang="fr-FR"/>
          </a:p>
        </p:txBody>
      </p:sp>
      <p:sp>
        <p:nvSpPr>
          <p:cNvPr id="10" name="Espace réservé du numéro de diapositive 9">
            <a:extLst>
              <a:ext uri="{FF2B5EF4-FFF2-40B4-BE49-F238E27FC236}">
                <a16:creationId xmlns:a16="http://schemas.microsoft.com/office/drawing/2014/main" id="{32C03E7B-CBCE-47FD-95FB-2D4D91E2CF0B}"/>
              </a:ext>
            </a:extLst>
          </p:cNvPr>
          <p:cNvSpPr>
            <a:spLocks noGrp="1"/>
          </p:cNvSpPr>
          <p:nvPr>
            <p:ph type="sldNum" sz="quarter" idx="11"/>
          </p:nvPr>
        </p:nvSpPr>
        <p:spPr/>
        <p:txBody>
          <a:bodyPr/>
          <a:lstStyle/>
          <a:p>
            <a:fld id="{A5C7A32D-1116-4AE8-97EF-D42A2B21677D}" type="slidenum">
              <a:rPr lang="fr-FR" smtClean="0"/>
              <a:t>‹#›</a:t>
            </a:fld>
            <a:endParaRPr lang="fr-FR"/>
          </a:p>
        </p:txBody>
      </p:sp>
      <p:sp>
        <p:nvSpPr>
          <p:cNvPr id="13" name="Espace réservé du texte 12">
            <a:extLst>
              <a:ext uri="{FF2B5EF4-FFF2-40B4-BE49-F238E27FC236}">
                <a16:creationId xmlns:a16="http://schemas.microsoft.com/office/drawing/2014/main" id="{994F548F-A399-4411-B9BF-BDBAA7AE4B55}"/>
              </a:ext>
            </a:extLst>
          </p:cNvPr>
          <p:cNvSpPr>
            <a:spLocks noGrp="1"/>
          </p:cNvSpPr>
          <p:nvPr>
            <p:ph type="body" sz="quarter" idx="12" hasCustomPrompt="1"/>
          </p:nvPr>
        </p:nvSpPr>
        <p:spPr>
          <a:xfrm>
            <a:off x="839787" y="1008000"/>
            <a:ext cx="10440987" cy="4999100"/>
          </a:xfrm>
        </p:spPr>
        <p:txBody>
          <a:bodyPr/>
          <a:lstStyle>
            <a:lvl1pPr>
              <a:defRPr/>
            </a:lvl1pPr>
            <a:lvl2pPr>
              <a:defRPr/>
            </a:lvl2pPr>
            <a:lvl3pPr>
              <a:defRPr/>
            </a:lvl3pPr>
            <a:lvl4pPr>
              <a:defRPr/>
            </a:lvl4pPr>
          </a:lstStyle>
          <a:p>
            <a:pPr lvl="0"/>
            <a:r>
              <a:rPr lang="fr-FR"/>
              <a:t>Sous-titre (premeir niveau)</a:t>
            </a:r>
          </a:p>
          <a:p>
            <a:pPr lvl="1"/>
            <a:r>
              <a:rPr lang="fr-FR"/>
              <a:t>Rubrique (deuxième niveau)</a:t>
            </a:r>
          </a:p>
          <a:p>
            <a:pPr lvl="2"/>
            <a:r>
              <a:rPr lang="fr-FR"/>
              <a:t>Item (troisième niveau)</a:t>
            </a:r>
          </a:p>
          <a:p>
            <a:pPr lvl="3"/>
            <a:r>
              <a:rPr lang="fr-FR"/>
              <a:t>Contenu (quatrième niveau)</a:t>
            </a:r>
          </a:p>
        </p:txBody>
      </p:sp>
      <p:sp>
        <p:nvSpPr>
          <p:cNvPr id="7" name="Titre 5">
            <a:extLst>
              <a:ext uri="{FF2B5EF4-FFF2-40B4-BE49-F238E27FC236}">
                <a16:creationId xmlns:a16="http://schemas.microsoft.com/office/drawing/2014/main" id="{25FC0EDE-30E2-4F5A-B08C-8D79B82BB578}"/>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35027844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re et contenu 2">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60D8EFD0-DD87-44F2-90BC-CD4BF9ED5B24}"/>
              </a:ext>
            </a:extLst>
          </p:cNvPr>
          <p:cNvSpPr>
            <a:spLocks noGrp="1"/>
          </p:cNvSpPr>
          <p:nvPr>
            <p:ph type="ftr" sz="quarter" idx="16"/>
          </p:nvPr>
        </p:nvSpPr>
        <p:spPr/>
        <p:txBody>
          <a:bodyPr/>
          <a:lstStyle/>
          <a:p>
            <a:endParaRPr lang="fr-FR"/>
          </a:p>
        </p:txBody>
      </p:sp>
      <p:sp>
        <p:nvSpPr>
          <p:cNvPr id="5" name="Espace réservé du numéro de diapositive 4">
            <a:extLst>
              <a:ext uri="{FF2B5EF4-FFF2-40B4-BE49-F238E27FC236}">
                <a16:creationId xmlns:a16="http://schemas.microsoft.com/office/drawing/2014/main" id="{F318DA38-E683-43E9-9656-D018CD605BE7}"/>
              </a:ext>
            </a:extLst>
          </p:cNvPr>
          <p:cNvSpPr>
            <a:spLocks noGrp="1"/>
          </p:cNvSpPr>
          <p:nvPr>
            <p:ph type="sldNum" sz="quarter" idx="17"/>
          </p:nvPr>
        </p:nvSpPr>
        <p:spPr/>
        <p:txBody>
          <a:bodyPr/>
          <a:lstStyle/>
          <a:p>
            <a:fld id="{A5C7A32D-1116-4AE8-97EF-D42A2B21677D}" type="slidenum">
              <a:rPr lang="fr-FR" smtClean="0"/>
              <a:t>‹#›</a:t>
            </a:fld>
            <a:endParaRPr lang="fr-FR"/>
          </a:p>
        </p:txBody>
      </p:sp>
      <p:sp>
        <p:nvSpPr>
          <p:cNvPr id="7" name="Titre 5">
            <a:extLst>
              <a:ext uri="{FF2B5EF4-FFF2-40B4-BE49-F238E27FC236}">
                <a16:creationId xmlns:a16="http://schemas.microsoft.com/office/drawing/2014/main" id="{196E6E0A-156A-4841-A350-BE191FCF2027}"/>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
        <p:nvSpPr>
          <p:cNvPr id="8" name="Espace réservé du texte 12">
            <a:extLst>
              <a:ext uri="{FF2B5EF4-FFF2-40B4-BE49-F238E27FC236}">
                <a16:creationId xmlns:a16="http://schemas.microsoft.com/office/drawing/2014/main" id="{965367BF-2907-4F13-AEC8-A36F6E32C4F7}"/>
              </a:ext>
            </a:extLst>
          </p:cNvPr>
          <p:cNvSpPr>
            <a:spLocks noGrp="1"/>
          </p:cNvSpPr>
          <p:nvPr>
            <p:ph type="body" sz="quarter" idx="19" hasCustomPrompt="1"/>
          </p:nvPr>
        </p:nvSpPr>
        <p:spPr>
          <a:xfrm>
            <a:off x="839787" y="1008000"/>
            <a:ext cx="5038499" cy="4999100"/>
          </a:xfrm>
        </p:spPr>
        <p:txBody>
          <a:bodyPr/>
          <a:lstStyle>
            <a:lvl1pPr>
              <a:defRPr/>
            </a:lvl1pPr>
            <a:lvl2pPr>
              <a:defRPr/>
            </a:lvl2pPr>
            <a:lvl3pPr>
              <a:defRPr/>
            </a:lvl3pPr>
            <a:lvl4pPr>
              <a:defRPr/>
            </a:lvl4pPr>
          </a:lstStyle>
          <a:p>
            <a:pPr lvl="0"/>
            <a:r>
              <a:rPr lang="fr-FR"/>
              <a:t>Sous-titre (premeir niveau)</a:t>
            </a:r>
          </a:p>
          <a:p>
            <a:pPr lvl="1"/>
            <a:r>
              <a:rPr lang="fr-FR"/>
              <a:t>Rubrique (deuxième niveau)</a:t>
            </a:r>
          </a:p>
          <a:p>
            <a:pPr lvl="2"/>
            <a:r>
              <a:rPr lang="fr-FR"/>
              <a:t>Item (troisième niveau)</a:t>
            </a:r>
          </a:p>
          <a:p>
            <a:pPr lvl="3"/>
            <a:r>
              <a:rPr lang="fr-FR"/>
              <a:t>Contenu (quatrième niveau)</a:t>
            </a:r>
          </a:p>
        </p:txBody>
      </p:sp>
      <p:sp>
        <p:nvSpPr>
          <p:cNvPr id="9" name="Espace réservé du texte 12">
            <a:extLst>
              <a:ext uri="{FF2B5EF4-FFF2-40B4-BE49-F238E27FC236}">
                <a16:creationId xmlns:a16="http://schemas.microsoft.com/office/drawing/2014/main" id="{ECAAD123-C781-451D-88A4-AC5B03044E7C}"/>
              </a:ext>
            </a:extLst>
          </p:cNvPr>
          <p:cNvSpPr>
            <a:spLocks noGrp="1"/>
          </p:cNvSpPr>
          <p:nvPr>
            <p:ph type="body" sz="quarter" idx="20" hasCustomPrompt="1"/>
          </p:nvPr>
        </p:nvSpPr>
        <p:spPr>
          <a:xfrm>
            <a:off x="6242276" y="1008000"/>
            <a:ext cx="5038499" cy="4999100"/>
          </a:xfrm>
        </p:spPr>
        <p:txBody>
          <a:bodyPr/>
          <a:lstStyle>
            <a:lvl1pPr>
              <a:defRPr/>
            </a:lvl1pPr>
            <a:lvl2pPr>
              <a:defRPr/>
            </a:lvl2pPr>
            <a:lvl3pPr>
              <a:defRPr/>
            </a:lvl3pPr>
            <a:lvl4pPr>
              <a:defRPr/>
            </a:lvl4pPr>
          </a:lstStyle>
          <a:p>
            <a:pPr lvl="0"/>
            <a:r>
              <a:rPr lang="fr-FR"/>
              <a:t>Sous-titre (premeir niveau)</a:t>
            </a:r>
          </a:p>
          <a:p>
            <a:pPr lvl="1"/>
            <a:r>
              <a:rPr lang="fr-FR"/>
              <a:t>Rubrique (deuxième niveau)</a:t>
            </a:r>
          </a:p>
          <a:p>
            <a:pPr lvl="2"/>
            <a:r>
              <a:rPr lang="fr-FR"/>
              <a:t>Item (troisième niveau)</a:t>
            </a:r>
          </a:p>
          <a:p>
            <a:pPr lvl="3"/>
            <a:r>
              <a:rPr lang="fr-FR"/>
              <a:t>Contenu (quatrième niveau)</a:t>
            </a:r>
          </a:p>
        </p:txBody>
      </p:sp>
    </p:spTree>
    <p:extLst>
      <p:ext uri="{BB962C8B-B14F-4D97-AF65-F5344CB8AC3E}">
        <p14:creationId xmlns:p14="http://schemas.microsoft.com/office/powerpoint/2010/main" val="5421027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re et contenu 3">
    <p:spTree>
      <p:nvGrpSpPr>
        <p:cNvPr id="1" name=""/>
        <p:cNvGrpSpPr/>
        <p:nvPr/>
      </p:nvGrpSpPr>
      <p:grpSpPr>
        <a:xfrm>
          <a:off x="0" y="0"/>
          <a:ext cx="0" cy="0"/>
          <a:chOff x="0" y="0"/>
          <a:chExt cx="0" cy="0"/>
        </a:xfrm>
      </p:grpSpPr>
      <p:sp>
        <p:nvSpPr>
          <p:cNvPr id="16" name="Espace réservé du texte 5">
            <a:extLst>
              <a:ext uri="{FF2B5EF4-FFF2-40B4-BE49-F238E27FC236}">
                <a16:creationId xmlns:a16="http://schemas.microsoft.com/office/drawing/2014/main" id="{A988C761-4C7D-423A-B1FF-7DBEE783B938}"/>
              </a:ext>
            </a:extLst>
          </p:cNvPr>
          <p:cNvSpPr>
            <a:spLocks noGrp="1"/>
          </p:cNvSpPr>
          <p:nvPr>
            <p:ph type="body" sz="quarter" idx="12" hasCustomPrompt="1"/>
          </p:nvPr>
        </p:nvSpPr>
        <p:spPr>
          <a:xfrm>
            <a:off x="839788" y="978413"/>
            <a:ext cx="10440987" cy="485268"/>
          </a:xfrm>
          <a:prstGeom prst="rect">
            <a:avLst/>
          </a:prstGeom>
        </p:spPr>
        <p:txBody>
          <a:bodyPr anchor="ctr"/>
          <a:lstStyle>
            <a:lvl1pPr marL="0" indent="0" algn="l" defTabSz="914400" rtl="0" eaLnBrk="1" latinLnBrk="0" hangingPunct="1">
              <a:lnSpc>
                <a:spcPct val="90000"/>
              </a:lnSpc>
              <a:spcBef>
                <a:spcPct val="0"/>
              </a:spcBef>
              <a:buFontTx/>
              <a:buNone/>
              <a:defRPr lang="fr-FR" sz="2800" b="1" kern="1200" cap="none" spc="0" baseline="0" dirty="0">
                <a:solidFill>
                  <a:schemeClr val="tx1"/>
                </a:solidFill>
                <a:latin typeface="Arial" panose="020B0604020202020204" pitchFamily="34" charset="0"/>
                <a:ea typeface="Arial" charset="0"/>
                <a:cs typeface="Arial" panose="020B0604020202020204" pitchFamily="34" charset="0"/>
              </a:defRPr>
            </a:lvl1pPr>
          </a:lstStyle>
          <a:p>
            <a:pPr lvl="0"/>
            <a:r>
              <a:rPr lang="fr-FR" sz="2800">
                <a:solidFill>
                  <a:schemeClr val="tx1"/>
                </a:solidFill>
                <a:latin typeface="Arial" panose="020B0604020202020204" pitchFamily="34" charset="0"/>
                <a:cs typeface="Arial" panose="020B0604020202020204" pitchFamily="34" charset="0"/>
              </a:rPr>
              <a:t>1.1 </a:t>
            </a:r>
            <a:r>
              <a:rPr lang="fr-FR"/>
              <a:t>Sous-titre </a:t>
            </a:r>
            <a:r>
              <a:rPr lang="fr-FR" dirty="0"/>
              <a:t>(</a:t>
            </a:r>
            <a:r>
              <a:rPr lang="fr-FR"/>
              <a:t>1 ligne</a:t>
            </a:r>
            <a:r>
              <a:rPr lang="fr-FR" dirty="0"/>
              <a:t>)</a:t>
            </a:r>
          </a:p>
        </p:txBody>
      </p:sp>
      <p:sp>
        <p:nvSpPr>
          <p:cNvPr id="2" name="Espace réservé du pied de page 1">
            <a:extLst>
              <a:ext uri="{FF2B5EF4-FFF2-40B4-BE49-F238E27FC236}">
                <a16:creationId xmlns:a16="http://schemas.microsoft.com/office/drawing/2014/main" id="{B3966CBE-AEA8-4050-8067-1B4E5EE195CF}"/>
              </a:ext>
            </a:extLst>
          </p:cNvPr>
          <p:cNvSpPr>
            <a:spLocks noGrp="1"/>
          </p:cNvSpPr>
          <p:nvPr>
            <p:ph type="ftr" sz="quarter" idx="13"/>
          </p:nvPr>
        </p:nvSpPr>
        <p:spPr/>
        <p:txBody>
          <a:bodyPr/>
          <a:lstStyle/>
          <a:p>
            <a:endParaRPr lang="fr-FR"/>
          </a:p>
        </p:txBody>
      </p:sp>
      <p:sp>
        <p:nvSpPr>
          <p:cNvPr id="3" name="Espace réservé du numéro de diapositive 2">
            <a:extLst>
              <a:ext uri="{FF2B5EF4-FFF2-40B4-BE49-F238E27FC236}">
                <a16:creationId xmlns:a16="http://schemas.microsoft.com/office/drawing/2014/main" id="{B1922039-7D6E-4924-99A6-A50FE142D698}"/>
              </a:ext>
            </a:extLst>
          </p:cNvPr>
          <p:cNvSpPr>
            <a:spLocks noGrp="1"/>
          </p:cNvSpPr>
          <p:nvPr>
            <p:ph type="sldNum" sz="quarter" idx="14"/>
          </p:nvPr>
        </p:nvSpPr>
        <p:spPr/>
        <p:txBody>
          <a:bodyPr/>
          <a:lstStyle/>
          <a:p>
            <a:fld id="{A5C7A32D-1116-4AE8-97EF-D42A2B21677D}" type="slidenum">
              <a:rPr lang="fr-FR" smtClean="0"/>
              <a:t>‹#›</a:t>
            </a:fld>
            <a:endParaRPr lang="fr-FR"/>
          </a:p>
        </p:txBody>
      </p:sp>
      <p:sp>
        <p:nvSpPr>
          <p:cNvPr id="6" name="Espace réservé du texte 5">
            <a:extLst>
              <a:ext uri="{FF2B5EF4-FFF2-40B4-BE49-F238E27FC236}">
                <a16:creationId xmlns:a16="http://schemas.microsoft.com/office/drawing/2014/main" id="{B6A90E34-218B-44F8-B3EE-12D9E53297FE}"/>
              </a:ext>
            </a:extLst>
          </p:cNvPr>
          <p:cNvSpPr>
            <a:spLocks noGrp="1"/>
          </p:cNvSpPr>
          <p:nvPr>
            <p:ph type="body" sz="quarter" idx="15" hasCustomPrompt="1"/>
          </p:nvPr>
        </p:nvSpPr>
        <p:spPr>
          <a:xfrm>
            <a:off x="1511300" y="1864859"/>
            <a:ext cx="9769475" cy="2774182"/>
          </a:xfrm>
        </p:spPr>
        <p:txBody>
          <a:bodyPr/>
          <a:lstStyle>
            <a:lvl1pPr marL="0" indent="0">
              <a:lnSpc>
                <a:spcPct val="150000"/>
              </a:lnSpc>
              <a:buFont typeface="Arial" panose="020B0604020202020204" pitchFamily="34" charset="0"/>
              <a:buNone/>
              <a:defRPr sz="2000" b="0"/>
            </a:lvl1pPr>
          </a:lstStyle>
          <a:p>
            <a:pPr lvl="0"/>
            <a:r>
              <a:rPr lang="fr-FR"/>
              <a:t>Texte</a:t>
            </a:r>
          </a:p>
        </p:txBody>
      </p:sp>
      <p:sp>
        <p:nvSpPr>
          <p:cNvPr id="7" name="Titre 5">
            <a:extLst>
              <a:ext uri="{FF2B5EF4-FFF2-40B4-BE49-F238E27FC236}">
                <a16:creationId xmlns:a16="http://schemas.microsoft.com/office/drawing/2014/main" id="{1C2B61A0-D5D7-455B-96D4-0AC93A906D05}"/>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23763859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mage à gauche">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27140DB9-FE55-48AF-9A04-12DB92D7CDC4}"/>
              </a:ext>
            </a:extLst>
          </p:cNvPr>
          <p:cNvSpPr>
            <a:spLocks noGrp="1" noChangeAspect="1"/>
          </p:cNvSpPr>
          <p:nvPr>
            <p:ph type="pic" sz="quarter" idx="14" hasCustomPrompt="1"/>
          </p:nvPr>
        </p:nvSpPr>
        <p:spPr>
          <a:xfrm>
            <a:off x="3" y="0"/>
            <a:ext cx="5268458" cy="6858000"/>
          </a:xfrm>
          <a:prstGeom prst="rect">
            <a:avLst/>
          </a:prstGeom>
        </p:spPr>
        <p:txBody>
          <a:bodyPr tIns="2304000" anchor="t" anchorCtr="0">
            <a:noAutofit/>
          </a:bodyPr>
          <a:lstStyle>
            <a:lvl1pPr marL="0" indent="0" algn="ctr">
              <a:buNone/>
              <a:defRPr b="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r>
              <a:rPr lang="fr-FR" dirty="0"/>
              <a:t>Cliquez sur l’icône ci-dessous </a:t>
            </a:r>
            <a:br>
              <a:rPr lang="fr-FR" dirty="0"/>
            </a:br>
            <a:r>
              <a:rPr lang="fr-FR" dirty="0"/>
              <a:t>pour insérer une image</a:t>
            </a:r>
          </a:p>
        </p:txBody>
      </p:sp>
      <p:sp>
        <p:nvSpPr>
          <p:cNvPr id="12"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5623484" y="1398522"/>
            <a:ext cx="5657291" cy="1495794"/>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a:t>Titre (3 lignes max)</a:t>
            </a:r>
          </a:p>
        </p:txBody>
      </p:sp>
      <p:sp>
        <p:nvSpPr>
          <p:cNvPr id="13" name="Espace réservé du texte 5">
            <a:extLst>
              <a:ext uri="{FF2B5EF4-FFF2-40B4-BE49-F238E27FC236}">
                <a16:creationId xmlns:a16="http://schemas.microsoft.com/office/drawing/2014/main" id="{CF16E1CB-4175-4B50-B70E-76C58215F7A4}"/>
              </a:ext>
            </a:extLst>
          </p:cNvPr>
          <p:cNvSpPr>
            <a:spLocks noGrp="1"/>
          </p:cNvSpPr>
          <p:nvPr>
            <p:ph type="body" sz="quarter" idx="12" hasCustomPrompt="1"/>
          </p:nvPr>
        </p:nvSpPr>
        <p:spPr>
          <a:xfrm>
            <a:off x="5636736" y="3083214"/>
            <a:ext cx="5657291" cy="387798"/>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Sous-titre (1 ligne)</a:t>
            </a:r>
          </a:p>
        </p:txBody>
      </p:sp>
      <p:sp>
        <p:nvSpPr>
          <p:cNvPr id="3" name="Espace réservé du texte 2">
            <a:extLst>
              <a:ext uri="{FF2B5EF4-FFF2-40B4-BE49-F238E27FC236}">
                <a16:creationId xmlns:a16="http://schemas.microsoft.com/office/drawing/2014/main" id="{34704A89-865E-40EA-BCD5-78C5D720B1CD}"/>
              </a:ext>
            </a:extLst>
          </p:cNvPr>
          <p:cNvSpPr>
            <a:spLocks noGrp="1"/>
          </p:cNvSpPr>
          <p:nvPr>
            <p:ph type="body" sz="quarter" idx="15" hasCustomPrompt="1"/>
          </p:nvPr>
        </p:nvSpPr>
        <p:spPr>
          <a:xfrm>
            <a:off x="5622925" y="3710215"/>
            <a:ext cx="5657850" cy="1809750"/>
          </a:xfrm>
        </p:spPr>
        <p:txBody>
          <a:bodyPr/>
          <a:lstStyle>
            <a:lvl1pPr marL="0" indent="0">
              <a:lnSpc>
                <a:spcPct val="150000"/>
              </a:lnSpc>
              <a:spcBef>
                <a:spcPts val="0"/>
              </a:spcBef>
              <a:buNone/>
              <a:defRPr sz="2000" b="0">
                <a:solidFill>
                  <a:schemeClr val="tx2"/>
                </a:solidFill>
              </a:defRPr>
            </a:lvl1pPr>
          </a:lstStyle>
          <a:p>
            <a:pPr lvl="0"/>
            <a:r>
              <a:rPr lang="fr-FR" dirty="0"/>
              <a:t>Texte complémentaire</a:t>
            </a:r>
          </a:p>
        </p:txBody>
      </p:sp>
      <p:sp>
        <p:nvSpPr>
          <p:cNvPr id="5" name="Espace réservé du numéro de diapositive 4">
            <a:extLst>
              <a:ext uri="{FF2B5EF4-FFF2-40B4-BE49-F238E27FC236}">
                <a16:creationId xmlns:a16="http://schemas.microsoft.com/office/drawing/2014/main" id="{D40CC3A4-C275-45F8-AB86-82A4A9B43C29}"/>
              </a:ext>
            </a:extLst>
          </p:cNvPr>
          <p:cNvSpPr>
            <a:spLocks noGrp="1"/>
          </p:cNvSpPr>
          <p:nvPr>
            <p:ph type="sldNum" sz="quarter" idx="17"/>
          </p:nvPr>
        </p:nvSpPr>
        <p:spPr/>
        <p:txBody>
          <a:bodyPr/>
          <a:lstStyle/>
          <a:p>
            <a:fld id="{A5C7A32D-1116-4AE8-97EF-D42A2B21677D}" type="slidenum">
              <a:rPr lang="fr-FR" smtClean="0"/>
              <a:t>‹#›</a:t>
            </a:fld>
            <a:endParaRPr lang="fr-FR"/>
          </a:p>
        </p:txBody>
      </p:sp>
    </p:spTree>
    <p:extLst>
      <p:ext uri="{BB962C8B-B14F-4D97-AF65-F5344CB8AC3E}">
        <p14:creationId xmlns:p14="http://schemas.microsoft.com/office/powerpoint/2010/main" val="42195241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re avec bandeau ">
    <p:spTree>
      <p:nvGrpSpPr>
        <p:cNvPr id="1" name=""/>
        <p:cNvGrpSpPr/>
        <p:nvPr/>
      </p:nvGrpSpPr>
      <p:grpSpPr>
        <a:xfrm>
          <a:off x="0" y="0"/>
          <a:ext cx="0" cy="0"/>
          <a:chOff x="0" y="0"/>
          <a:chExt cx="0" cy="0"/>
        </a:xfrm>
      </p:grpSpPr>
      <p:sp>
        <p:nvSpPr>
          <p:cNvPr id="11" name="Rectangle 10"/>
          <p:cNvSpPr/>
          <p:nvPr/>
        </p:nvSpPr>
        <p:spPr>
          <a:xfrm>
            <a:off x="0" y="0"/>
            <a:ext cx="500358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latin typeface="Arial" panose="020B0604020202020204" pitchFamily="34" charset="0"/>
              <a:cs typeface="Arial" panose="020B0604020202020204" pitchFamily="34" charset="0"/>
            </a:endParaRPr>
          </a:p>
        </p:txBody>
      </p:sp>
      <p:sp>
        <p:nvSpPr>
          <p:cNvPr id="14" name="Espace réservé du numéro de diapositive 4">
            <a:extLst>
              <a:ext uri="{FF2B5EF4-FFF2-40B4-BE49-F238E27FC236}">
                <a16:creationId xmlns:a16="http://schemas.microsoft.com/office/drawing/2014/main" id="{4851EEEE-251B-465C-9A44-B3EC2ADCE209}"/>
              </a:ext>
            </a:extLst>
          </p:cNvPr>
          <p:cNvSpPr>
            <a:spLocks noGrp="1"/>
          </p:cNvSpPr>
          <p:nvPr>
            <p:ph type="sldNum" sz="quarter" idx="17"/>
          </p:nvPr>
        </p:nvSpPr>
        <p:spPr>
          <a:xfrm>
            <a:off x="10620375" y="6390938"/>
            <a:ext cx="660400" cy="184666"/>
          </a:xfrm>
        </p:spPr>
        <p:txBody>
          <a:bodyPr/>
          <a:lstStyle/>
          <a:p>
            <a:fld id="{A5C7A32D-1116-4AE8-97EF-D42A2B21677D}" type="slidenum">
              <a:rPr lang="fr-FR" smtClean="0"/>
              <a:t>‹#›</a:t>
            </a:fld>
            <a:endParaRPr lang="fr-FR"/>
          </a:p>
        </p:txBody>
      </p:sp>
      <p:sp>
        <p:nvSpPr>
          <p:cNvPr id="16" name="Espace réservé du texte 5">
            <a:extLst>
              <a:ext uri="{FF2B5EF4-FFF2-40B4-BE49-F238E27FC236}">
                <a16:creationId xmlns:a16="http://schemas.microsoft.com/office/drawing/2014/main" id="{85665673-C441-4E89-8AF2-E736B5FD12B8}"/>
              </a:ext>
            </a:extLst>
          </p:cNvPr>
          <p:cNvSpPr>
            <a:spLocks noGrp="1"/>
          </p:cNvSpPr>
          <p:nvPr>
            <p:ph type="body" sz="quarter" idx="12" hasCustomPrompt="1"/>
          </p:nvPr>
        </p:nvSpPr>
        <p:spPr>
          <a:xfrm>
            <a:off x="5636736" y="3083214"/>
            <a:ext cx="5657291" cy="387798"/>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Sous-titre (1 ligne)</a:t>
            </a:r>
          </a:p>
        </p:txBody>
      </p:sp>
      <p:sp>
        <p:nvSpPr>
          <p:cNvPr id="17" name="Espace réservé du texte 2">
            <a:extLst>
              <a:ext uri="{FF2B5EF4-FFF2-40B4-BE49-F238E27FC236}">
                <a16:creationId xmlns:a16="http://schemas.microsoft.com/office/drawing/2014/main" id="{EBCFE1BB-1DE5-4317-B5D8-DB6D96FB774E}"/>
              </a:ext>
            </a:extLst>
          </p:cNvPr>
          <p:cNvSpPr>
            <a:spLocks noGrp="1"/>
          </p:cNvSpPr>
          <p:nvPr>
            <p:ph type="body" sz="quarter" idx="15" hasCustomPrompt="1"/>
          </p:nvPr>
        </p:nvSpPr>
        <p:spPr>
          <a:xfrm>
            <a:off x="5622925" y="3710215"/>
            <a:ext cx="5657850" cy="1809750"/>
          </a:xfrm>
        </p:spPr>
        <p:txBody>
          <a:bodyPr/>
          <a:lstStyle>
            <a:lvl1pPr marL="0" indent="0">
              <a:lnSpc>
                <a:spcPct val="150000"/>
              </a:lnSpc>
              <a:spcBef>
                <a:spcPts val="0"/>
              </a:spcBef>
              <a:buNone/>
              <a:defRPr sz="2000" b="0">
                <a:solidFill>
                  <a:schemeClr val="tx2"/>
                </a:solidFill>
              </a:defRPr>
            </a:lvl1pPr>
          </a:lstStyle>
          <a:p>
            <a:pPr lvl="0"/>
            <a:r>
              <a:rPr lang="fr-FR" dirty="0"/>
              <a:t>Texte complémentaire</a:t>
            </a:r>
          </a:p>
        </p:txBody>
      </p:sp>
      <p:sp>
        <p:nvSpPr>
          <p:cNvPr id="9" name="Titre 1">
            <a:extLst>
              <a:ext uri="{FF2B5EF4-FFF2-40B4-BE49-F238E27FC236}">
                <a16:creationId xmlns:a16="http://schemas.microsoft.com/office/drawing/2014/main" id="{DC49C064-76C9-41A1-9E59-8A19019F8523}"/>
              </a:ext>
            </a:extLst>
          </p:cNvPr>
          <p:cNvSpPr>
            <a:spLocks noGrp="1"/>
          </p:cNvSpPr>
          <p:nvPr>
            <p:ph type="ctrTitle" hasCustomPrompt="1"/>
          </p:nvPr>
        </p:nvSpPr>
        <p:spPr>
          <a:xfrm>
            <a:off x="5623484" y="1398522"/>
            <a:ext cx="5657291" cy="1495794"/>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a:t>Titre (3 lignes max)</a:t>
            </a:r>
          </a:p>
        </p:txBody>
      </p:sp>
    </p:spTree>
    <p:extLst>
      <p:ext uri="{BB962C8B-B14F-4D97-AF65-F5344CB8AC3E}">
        <p14:creationId xmlns:p14="http://schemas.microsoft.com/office/powerpoint/2010/main" val="5406269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e sans titre">
    <p:spTree>
      <p:nvGrpSpPr>
        <p:cNvPr id="1" name=""/>
        <p:cNvGrpSpPr/>
        <p:nvPr/>
      </p:nvGrpSpPr>
      <p:grpSpPr>
        <a:xfrm>
          <a:off x="0" y="0"/>
          <a:ext cx="0" cy="0"/>
          <a:chOff x="0" y="0"/>
          <a:chExt cx="0" cy="0"/>
        </a:xfrm>
      </p:grpSpPr>
      <p:sp>
        <p:nvSpPr>
          <p:cNvPr id="4" name="Espace réservé du contenu 9">
            <a:extLst>
              <a:ext uri="{FF2B5EF4-FFF2-40B4-BE49-F238E27FC236}">
                <a16:creationId xmlns:a16="http://schemas.microsoft.com/office/drawing/2014/main" id="{CF8E1BD4-2E9A-4788-88E6-0120D51CBCE0}"/>
              </a:ext>
            </a:extLst>
          </p:cNvPr>
          <p:cNvSpPr>
            <a:spLocks noGrp="1"/>
          </p:cNvSpPr>
          <p:nvPr>
            <p:ph sz="quarter" idx="13" hasCustomPrompt="1"/>
          </p:nvPr>
        </p:nvSpPr>
        <p:spPr>
          <a:xfrm>
            <a:off x="838200" y="1022400"/>
            <a:ext cx="10442576" cy="4996069"/>
          </a:xfrm>
          <a:prstGeom prst="rect">
            <a:avLst/>
          </a:prstGeom>
        </p:spPr>
        <p:txBody>
          <a:bodyPr/>
          <a:lstStyle>
            <a:lvl1pPr marL="0" indent="0">
              <a:buNone/>
              <a:defRPr sz="4400" b="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pPr lvl="0"/>
            <a:r>
              <a:rPr lang="fr-FR"/>
              <a:t>Texte libre ou élément graphique sans titre (cliquer alors sur l’icône ci-dessous)</a:t>
            </a:r>
            <a:endParaRPr lang="fr-FR" dirty="0"/>
          </a:p>
        </p:txBody>
      </p:sp>
      <p:sp>
        <p:nvSpPr>
          <p:cNvPr id="2" name="Espace réservé du pied de page 1">
            <a:extLst>
              <a:ext uri="{FF2B5EF4-FFF2-40B4-BE49-F238E27FC236}">
                <a16:creationId xmlns:a16="http://schemas.microsoft.com/office/drawing/2014/main" id="{CE5B653E-BC7D-489F-B3CE-58D9EB676DA1}"/>
              </a:ext>
            </a:extLst>
          </p:cNvPr>
          <p:cNvSpPr>
            <a:spLocks noGrp="1"/>
          </p:cNvSpPr>
          <p:nvPr>
            <p:ph type="ftr" sz="quarter" idx="14"/>
          </p:nvPr>
        </p:nvSpPr>
        <p:spPr/>
        <p:txBody>
          <a:bodyPr/>
          <a:lstStyle/>
          <a:p>
            <a:endParaRPr lang="fr-FR"/>
          </a:p>
        </p:txBody>
      </p:sp>
      <p:sp>
        <p:nvSpPr>
          <p:cNvPr id="3" name="Espace réservé du numéro de diapositive 2">
            <a:extLst>
              <a:ext uri="{FF2B5EF4-FFF2-40B4-BE49-F238E27FC236}">
                <a16:creationId xmlns:a16="http://schemas.microsoft.com/office/drawing/2014/main" id="{A9A731D0-C3E7-45C9-A87A-611FBCF3688C}"/>
              </a:ext>
            </a:extLst>
          </p:cNvPr>
          <p:cNvSpPr>
            <a:spLocks noGrp="1"/>
          </p:cNvSpPr>
          <p:nvPr>
            <p:ph type="sldNum" sz="quarter" idx="15"/>
          </p:nvPr>
        </p:nvSpPr>
        <p:spPr/>
        <p:txBody>
          <a:bodyPr/>
          <a:lstStyle/>
          <a:p>
            <a:fld id="{A5C7A32D-1116-4AE8-97EF-D42A2B21677D}" type="slidenum">
              <a:rPr lang="fr-FR" smtClean="0"/>
              <a:t>‹#›</a:t>
            </a:fld>
            <a:endParaRPr lang="fr-FR"/>
          </a:p>
        </p:txBody>
      </p:sp>
      <p:sp>
        <p:nvSpPr>
          <p:cNvPr id="6" name="Titre 5">
            <a:extLst>
              <a:ext uri="{FF2B5EF4-FFF2-40B4-BE49-F238E27FC236}">
                <a16:creationId xmlns:a16="http://schemas.microsoft.com/office/drawing/2014/main" id="{CF64C1BA-4AE9-4E7E-AA90-8576B9433128}"/>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7522572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5D7B89DD-B9B2-4C1B-9F0B-588822599809}"/>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9655E634-7523-4740-9664-E11BE6F53CA0}"/>
              </a:ext>
            </a:extLst>
          </p:cNvPr>
          <p:cNvSpPr>
            <a:spLocks noGrp="1"/>
          </p:cNvSpPr>
          <p:nvPr>
            <p:ph type="sldNum" sz="quarter" idx="11"/>
          </p:nvPr>
        </p:nvSpPr>
        <p:spPr/>
        <p:txBody>
          <a:bodyPr/>
          <a:lstStyle/>
          <a:p>
            <a:fld id="{A5C7A32D-1116-4AE8-97EF-D42A2B21677D}" type="slidenum">
              <a:rPr lang="fr-FR" smtClean="0"/>
              <a:t>‹#›</a:t>
            </a:fld>
            <a:endParaRPr lang="fr-FR"/>
          </a:p>
        </p:txBody>
      </p:sp>
      <p:sp>
        <p:nvSpPr>
          <p:cNvPr id="5" name="Titre 5">
            <a:extLst>
              <a:ext uri="{FF2B5EF4-FFF2-40B4-BE49-F238E27FC236}">
                <a16:creationId xmlns:a16="http://schemas.microsoft.com/office/drawing/2014/main" id="{B1818323-5F00-4A01-A64C-B1AC4375C4E9}"/>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37063823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itation fond couleur">
    <p:bg>
      <p:bgPr>
        <a:solidFill>
          <a:schemeClr val="tx1"/>
        </a:solidFill>
        <a:effectLst/>
      </p:bgPr>
    </p:bg>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EB2C212-1B2B-4335-BA30-6DA98C8CDA34}"/>
              </a:ext>
            </a:extLst>
          </p:cNvPr>
          <p:cNvSpPr>
            <a:spLocks noGrp="1"/>
          </p:cNvSpPr>
          <p:nvPr>
            <p:ph type="body" sz="quarter" idx="10" hasCustomPrompt="1"/>
          </p:nvPr>
        </p:nvSpPr>
        <p:spPr>
          <a:xfrm>
            <a:off x="1477509" y="1001938"/>
            <a:ext cx="9803266" cy="4185761"/>
          </a:xfrm>
        </p:spPr>
        <p:txBody>
          <a:bodyPr/>
          <a:lstStyle>
            <a:lvl1pPr marL="0" indent="0">
              <a:lnSpc>
                <a:spcPct val="100000"/>
              </a:lnSpc>
              <a:spcBef>
                <a:spcPts val="0"/>
              </a:spcBef>
              <a:buNone/>
              <a:defRPr sz="3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itation</a:t>
            </a:r>
          </a:p>
        </p:txBody>
      </p:sp>
    </p:spTree>
    <p:extLst>
      <p:ext uri="{BB962C8B-B14F-4D97-AF65-F5344CB8AC3E}">
        <p14:creationId xmlns:p14="http://schemas.microsoft.com/office/powerpoint/2010/main" val="39436882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itation fond blanc">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C50DCE55-0914-418C-838D-74D38308EFDD}"/>
              </a:ext>
            </a:extLst>
          </p:cNvPr>
          <p:cNvSpPr>
            <a:spLocks noEditPoints="1"/>
          </p:cNvSpPr>
          <p:nvPr/>
        </p:nvSpPr>
        <p:spPr bwMode="auto">
          <a:xfrm>
            <a:off x="8623409" y="5943600"/>
            <a:ext cx="2620853" cy="241439"/>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latin typeface="Arial" panose="020B0604020202020204" pitchFamily="34" charset="0"/>
              <a:cs typeface="Arial" panose="020B0604020202020204" pitchFamily="34" charset="0"/>
            </a:endParaRPr>
          </a:p>
        </p:txBody>
      </p:sp>
      <p:sp>
        <p:nvSpPr>
          <p:cNvPr id="4" name="Espace réservé du texte 2">
            <a:extLst>
              <a:ext uri="{FF2B5EF4-FFF2-40B4-BE49-F238E27FC236}">
                <a16:creationId xmlns:a16="http://schemas.microsoft.com/office/drawing/2014/main" id="{E88ACDEA-C11A-4C4F-A94B-BBB7014BA3D2}"/>
              </a:ext>
            </a:extLst>
          </p:cNvPr>
          <p:cNvSpPr>
            <a:spLocks noGrp="1"/>
          </p:cNvSpPr>
          <p:nvPr>
            <p:ph type="body" sz="quarter" idx="10" hasCustomPrompt="1"/>
          </p:nvPr>
        </p:nvSpPr>
        <p:spPr>
          <a:xfrm>
            <a:off x="1477509" y="1001938"/>
            <a:ext cx="9803266" cy="4185761"/>
          </a:xfrm>
        </p:spPr>
        <p:txBody>
          <a:bodyPr/>
          <a:lstStyle>
            <a:lvl1pPr marL="0" indent="0">
              <a:lnSpc>
                <a:spcPct val="100000"/>
              </a:lnSpc>
              <a:spcBef>
                <a:spcPts val="0"/>
              </a:spcBef>
              <a:buNone/>
              <a:defRPr sz="3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itation</a:t>
            </a:r>
          </a:p>
        </p:txBody>
      </p:sp>
    </p:spTree>
    <p:extLst>
      <p:ext uri="{BB962C8B-B14F-4D97-AF65-F5344CB8AC3E}">
        <p14:creationId xmlns:p14="http://schemas.microsoft.com/office/powerpoint/2010/main" val="32873385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9010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F5C6CD-DD7F-4057-BD80-300ACD2B5174}"/>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ED7E6430-05AA-44DE-81D4-B914D6E679C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9448D5E3-CAD4-4368-9265-167F0C4C3FBF}"/>
              </a:ext>
            </a:extLst>
          </p:cNvPr>
          <p:cNvSpPr>
            <a:spLocks noGrp="1"/>
          </p:cNvSpPr>
          <p:nvPr>
            <p:ph type="dt" sz="half" idx="10"/>
          </p:nvPr>
        </p:nvSpPr>
        <p:spPr/>
        <p:txBody>
          <a:bodyPr/>
          <a:lstStyle/>
          <a:p>
            <a:fld id="{6AC45CBA-BF89-4C29-87F8-FD48BB509078}" type="datetimeFigureOut">
              <a:rPr lang="fr-FR" smtClean="0"/>
              <a:t>17/08/2021</a:t>
            </a:fld>
            <a:endParaRPr lang="fr-FR"/>
          </a:p>
        </p:txBody>
      </p:sp>
      <p:sp>
        <p:nvSpPr>
          <p:cNvPr id="5" name="Espace réservé du pied de page 4">
            <a:extLst>
              <a:ext uri="{FF2B5EF4-FFF2-40B4-BE49-F238E27FC236}">
                <a16:creationId xmlns:a16="http://schemas.microsoft.com/office/drawing/2014/main" id="{5F1182E8-16F5-4C68-89C5-5D728E36966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9899FDD-E9F2-4B90-A56A-C31CCF845836}"/>
              </a:ext>
            </a:extLst>
          </p:cNvPr>
          <p:cNvSpPr>
            <a:spLocks noGrp="1"/>
          </p:cNvSpPr>
          <p:nvPr>
            <p:ph type="sldNum" sz="quarter" idx="12"/>
          </p:nvPr>
        </p:nvSpPr>
        <p:spPr/>
        <p:txBody>
          <a:bodyPr/>
          <a:lstStyle/>
          <a:p>
            <a:fld id="{A5C7A32D-1116-4AE8-97EF-D42A2B21677D}" type="slidenum">
              <a:rPr lang="fr-FR" smtClean="0"/>
              <a:t>‹#›</a:t>
            </a:fld>
            <a:endParaRPr lang="fr-FR"/>
          </a:p>
        </p:txBody>
      </p:sp>
    </p:spTree>
    <p:extLst>
      <p:ext uri="{BB962C8B-B14F-4D97-AF65-F5344CB8AC3E}">
        <p14:creationId xmlns:p14="http://schemas.microsoft.com/office/powerpoint/2010/main" val="42095639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Quote white background">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23409" y="5943600"/>
            <a:ext cx="2620853" cy="241439"/>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latin typeface="Arial" panose="020B0604020202020204" pitchFamily="34" charset="0"/>
              <a:cs typeface="Arial" panose="020B0604020202020204" pitchFamily="34" charset="0"/>
            </a:endParaRPr>
          </a:p>
        </p:txBody>
      </p:sp>
      <p:sp>
        <p:nvSpPr>
          <p:cNvPr id="4" name="Espace réservé du texte 2">
            <a:extLst>
              <a:ext uri="{FF2B5EF4-FFF2-40B4-BE49-F238E27FC236}">
                <a16:creationId xmlns:a16="http://schemas.microsoft.com/office/drawing/2014/main" id="{E88ACDEA-C11A-4C4F-A94B-BBB7014BA3D2}"/>
              </a:ext>
            </a:extLst>
          </p:cNvPr>
          <p:cNvSpPr>
            <a:spLocks noGrp="1"/>
          </p:cNvSpPr>
          <p:nvPr>
            <p:ph type="body" sz="quarter" idx="10" hasCustomPrompt="1"/>
          </p:nvPr>
        </p:nvSpPr>
        <p:spPr>
          <a:xfrm>
            <a:off x="1477509" y="1001938"/>
            <a:ext cx="9803266" cy="4185761"/>
          </a:xfrm>
        </p:spPr>
        <p:txBody>
          <a:bodyPr/>
          <a:lstStyle>
            <a:lvl1pPr marL="0" indent="0">
              <a:lnSpc>
                <a:spcPct val="100000"/>
              </a:lnSpc>
              <a:spcBef>
                <a:spcPts val="0"/>
              </a:spcBef>
              <a:buNone/>
              <a:defRPr sz="3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Quote text</a:t>
            </a:r>
          </a:p>
        </p:txBody>
      </p:sp>
    </p:spTree>
    <p:extLst>
      <p:ext uri="{BB962C8B-B14F-4D97-AF65-F5344CB8AC3E}">
        <p14:creationId xmlns:p14="http://schemas.microsoft.com/office/powerpoint/2010/main" val="19562634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re">
    <p:spTree>
      <p:nvGrpSpPr>
        <p:cNvPr id="1" name=""/>
        <p:cNvGrpSpPr/>
        <p:nvPr/>
      </p:nvGrpSpPr>
      <p:grpSpPr>
        <a:xfrm>
          <a:off x="0" y="0"/>
          <a:ext cx="0" cy="0"/>
          <a:chOff x="0" y="0"/>
          <a:chExt cx="0" cy="0"/>
        </a:xfrm>
      </p:grpSpPr>
      <p:sp>
        <p:nvSpPr>
          <p:cNvPr id="7" name="Espace réservé du pied de page 6"/>
          <p:cNvSpPr>
            <a:spLocks noGrp="1"/>
          </p:cNvSpPr>
          <p:nvPr>
            <p:ph type="ftr" sz="quarter" idx="10"/>
          </p:nvPr>
        </p:nvSpPr>
        <p:spPr/>
        <p:txBody>
          <a:bodyPr/>
          <a:lstStyle/>
          <a:p>
            <a:r>
              <a:rPr lang="en-GB" dirty="0"/>
              <a:t>Temps Forts Managers 2017</a:t>
            </a:r>
          </a:p>
        </p:txBody>
      </p:sp>
      <p:sp>
        <p:nvSpPr>
          <p:cNvPr id="8" name="Espace réservé du numéro de diapositive 7"/>
          <p:cNvSpPr>
            <a:spLocks noGrp="1"/>
          </p:cNvSpPr>
          <p:nvPr>
            <p:ph type="sldNum" sz="quarter" idx="11"/>
          </p:nvPr>
        </p:nvSpPr>
        <p:spPr/>
        <p:txBody>
          <a:bodyPr/>
          <a:lstStyle/>
          <a:p>
            <a:fld id="{12C5DC16-0D22-4C7F-9249-BF4D2D91D79F}" type="slidenum">
              <a:rPr lang="en-GB" smtClean="0"/>
              <a:pPr/>
              <a:t>‹#›</a:t>
            </a:fld>
            <a:endParaRPr lang="en-GB" dirty="0"/>
          </a:p>
        </p:txBody>
      </p:sp>
      <p:sp>
        <p:nvSpPr>
          <p:cNvPr id="10" name="Titre 9"/>
          <p:cNvSpPr>
            <a:spLocks noGrp="1"/>
          </p:cNvSpPr>
          <p:nvPr>
            <p:ph type="title"/>
          </p:nvPr>
        </p:nvSpPr>
        <p:spPr>
          <a:xfrm>
            <a:off x="327991" y="540000"/>
            <a:ext cx="11536018" cy="437043"/>
          </a:xfrm>
        </p:spPr>
        <p:txBody>
          <a:bodyPr/>
          <a:lstStyle/>
          <a:p>
            <a:r>
              <a:rPr lang="en-GB"/>
              <a:t>Modifiez le style du titre</a:t>
            </a:r>
            <a:endParaRPr lang="en-GB" dirty="0"/>
          </a:p>
        </p:txBody>
      </p:sp>
    </p:spTree>
    <p:extLst>
      <p:ext uri="{BB962C8B-B14F-4D97-AF65-F5344CB8AC3E}">
        <p14:creationId xmlns:p14="http://schemas.microsoft.com/office/powerpoint/2010/main" val="3181781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ue title">
    <p:bg>
      <p:bgPr>
        <a:solidFill>
          <a:schemeClr val="bg1"/>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5"/>
            <a:ext cx="8200741" cy="1231107"/>
          </a:xfrm>
          <a:prstGeom prst="rect">
            <a:avLst/>
          </a:prstGeom>
        </p:spPr>
        <p:txBody>
          <a:bodyPr anchor="t"/>
          <a:lstStyle>
            <a:lvl1pPr algn="l">
              <a:lnSpc>
                <a:spcPct val="100000"/>
              </a:lnSpc>
              <a:defRPr sz="4000" b="1" i="0"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en-US"/>
              <a:t>TItle </a:t>
            </a:r>
            <a:r>
              <a:rPr lang="en-US" dirty="0"/>
              <a:t>of the presentation on two lines maximum</a:t>
            </a:r>
            <a:endParaRPr lang="fr-FR" dirty="0"/>
          </a:p>
        </p:txBody>
      </p:sp>
      <p:sp>
        <p:nvSpPr>
          <p:cNvPr id="22"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6" y="5943602"/>
            <a:ext cx="2574319"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sz="1351" dirty="0">
              <a:solidFill>
                <a:schemeClr val="tx1"/>
              </a:solidFill>
              <a:latin typeface="Arial" panose="020B0604020202020204" pitchFamily="34" charset="0"/>
              <a:cs typeface="Arial" panose="020B0604020202020204" pitchFamily="34" charset="0"/>
            </a:endParaRPr>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1" y="4298951"/>
            <a:ext cx="2175809" cy="193899"/>
          </a:xfrm>
          <a:prstGeom prst="rect">
            <a:avLst/>
          </a:prstGeom>
        </p:spPr>
        <p:txBody>
          <a:bodyPr wrap="none">
            <a:spAutoFit/>
          </a:bodyPr>
          <a:lstStyle>
            <a:lvl1pPr marL="0" indent="0" algn="l">
              <a:buNone/>
              <a:defRPr sz="1400" b="1" i="0" spc="30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DAY MONTH YEAR</a:t>
            </a:r>
          </a:p>
        </p:txBody>
      </p:sp>
      <p:sp>
        <p:nvSpPr>
          <p:cNvPr id="13" name="Espace réservé du texte 12">
            <a:extLst>
              <a:ext uri="{FF2B5EF4-FFF2-40B4-BE49-F238E27FC236}">
                <a16:creationId xmlns:a16="http://schemas.microsoft.com/office/drawing/2014/main" id="{4360FD32-D9B8-48CB-9F69-66C33B7C54DA}"/>
              </a:ext>
            </a:extLst>
          </p:cNvPr>
          <p:cNvSpPr>
            <a:spLocks noGrp="1"/>
          </p:cNvSpPr>
          <p:nvPr>
            <p:ph type="body" sz="quarter" idx="11" hasCustomPrompt="1"/>
          </p:nvPr>
        </p:nvSpPr>
        <p:spPr>
          <a:xfrm>
            <a:off x="1135373" y="3700889"/>
            <a:ext cx="1978212" cy="312478"/>
          </a:xfrm>
          <a:prstGeom prst="rect">
            <a:avLst/>
          </a:prstGeom>
          <a:solidFill>
            <a:schemeClr val="bg2"/>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CLIENT NAME</a:t>
            </a:r>
          </a:p>
        </p:txBody>
      </p:sp>
    </p:spTree>
    <p:extLst>
      <p:ext uri="{BB962C8B-B14F-4D97-AF65-F5344CB8AC3E}">
        <p14:creationId xmlns:p14="http://schemas.microsoft.com/office/powerpoint/2010/main" val="3324981451"/>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hite title">
    <p:bg>
      <p:bgPr>
        <a:solidFill>
          <a:schemeClr val="tx1"/>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5"/>
            <a:ext cx="8200741" cy="1231107"/>
          </a:xfrm>
          <a:prstGeom prst="rect">
            <a:avLst/>
          </a:prstGeom>
        </p:spPr>
        <p:txBody>
          <a:bodyPr anchor="t"/>
          <a:lstStyle>
            <a:lvl1pPr algn="l">
              <a:lnSpc>
                <a:spcPct val="100000"/>
              </a:lnSpc>
              <a:defRPr sz="4000" b="1" i="0" cap="all" spc="0" baseline="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r>
              <a:rPr lang="en-US" dirty="0"/>
              <a:t>Title of the presentation on two lines maximum</a:t>
            </a:r>
            <a:endParaRPr lang="fr-FR" dirty="0"/>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1" y="4298951"/>
            <a:ext cx="2175809" cy="193899"/>
          </a:xfrm>
          <a:prstGeom prst="rect">
            <a:avLst/>
          </a:prstGeom>
        </p:spPr>
        <p:txBody>
          <a:bodyPr wrap="none">
            <a:spAutoFit/>
          </a:bodyPr>
          <a:lstStyle>
            <a:lvl1pPr marL="0" indent="0" algn="l">
              <a:buNone/>
              <a:defRPr sz="1400" b="1" i="0" spc="30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DAY MONTH YEAR</a:t>
            </a:r>
          </a:p>
        </p:txBody>
      </p:sp>
      <p:sp>
        <p:nvSpPr>
          <p:cNvPr id="7" name="Freeform 5">
            <a:extLst>
              <a:ext uri="{FF2B5EF4-FFF2-40B4-BE49-F238E27FC236}">
                <a16:creationId xmlns:a16="http://schemas.microsoft.com/office/drawing/2014/main" id="{9721F3F3-2AF1-407B-9C3E-3BA0B4104B59}"/>
              </a:ext>
            </a:extLst>
          </p:cNvPr>
          <p:cNvSpPr>
            <a:spLocks noEditPoints="1"/>
          </p:cNvSpPr>
          <p:nvPr userDrawn="1"/>
        </p:nvSpPr>
        <p:spPr bwMode="auto">
          <a:xfrm>
            <a:off x="8651986" y="5943602"/>
            <a:ext cx="2574319"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rgbClr val="3F2381"/>
          </a:solidFill>
          <a:ln>
            <a:noFill/>
          </a:ln>
        </p:spPr>
        <p:txBody>
          <a:bodyPr vert="horz" wrap="square" lIns="91440" tIns="45720" rIns="91440" bIns="45720" numCol="1" anchor="t" anchorCtr="0" compatLnSpc="1">
            <a:prstTxWarp prst="textNoShape">
              <a:avLst/>
            </a:prstTxWarp>
          </a:bodyPr>
          <a:lstStyle/>
          <a:p>
            <a:endParaRPr lang="fr-FR" sz="1351" dirty="0">
              <a:latin typeface="Arial" panose="020B0604020202020204" pitchFamily="34" charset="0"/>
              <a:cs typeface="Arial" panose="020B0604020202020204" pitchFamily="34" charset="0"/>
            </a:endParaRPr>
          </a:p>
        </p:txBody>
      </p:sp>
      <p:sp>
        <p:nvSpPr>
          <p:cNvPr id="6" name="Espace réservé du texte 12">
            <a:extLst>
              <a:ext uri="{FF2B5EF4-FFF2-40B4-BE49-F238E27FC236}">
                <a16:creationId xmlns:a16="http://schemas.microsoft.com/office/drawing/2014/main" id="{2839EBF3-9321-41BD-A0BF-F38C2F0F72C7}"/>
              </a:ext>
            </a:extLst>
          </p:cNvPr>
          <p:cNvSpPr>
            <a:spLocks noGrp="1"/>
          </p:cNvSpPr>
          <p:nvPr>
            <p:ph type="body" sz="quarter" idx="11" hasCustomPrompt="1"/>
          </p:nvPr>
        </p:nvSpPr>
        <p:spPr>
          <a:xfrm>
            <a:off x="1135373" y="3700889"/>
            <a:ext cx="1978212" cy="312478"/>
          </a:xfrm>
          <a:prstGeom prst="rect">
            <a:avLst/>
          </a:prstGeom>
          <a:solidFill>
            <a:schemeClr val="bg2"/>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CLIENT NAME</a:t>
            </a:r>
          </a:p>
        </p:txBody>
      </p:sp>
    </p:spTree>
    <p:extLst>
      <p:ext uri="{BB962C8B-B14F-4D97-AF65-F5344CB8AC3E}">
        <p14:creationId xmlns:p14="http://schemas.microsoft.com/office/powerpoint/2010/main" val="2216351487"/>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urple title">
    <p:bg>
      <p:bgPr>
        <a:solidFill>
          <a:schemeClr val="bg2"/>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5"/>
            <a:ext cx="8200741" cy="1231107"/>
          </a:xfrm>
          <a:prstGeom prst="rect">
            <a:avLst/>
          </a:prstGeom>
        </p:spPr>
        <p:txBody>
          <a:bodyPr anchor="t"/>
          <a:lstStyle>
            <a:lvl1pPr algn="l">
              <a:lnSpc>
                <a:spcPct val="100000"/>
              </a:lnSpc>
              <a:defRPr sz="4000" b="1" i="0"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en-US" dirty="0"/>
              <a:t>Title of the presentation on two lines maximum</a:t>
            </a:r>
            <a:endParaRPr lang="fr-FR" dirty="0"/>
          </a:p>
        </p:txBody>
      </p:sp>
      <p:sp>
        <p:nvSpPr>
          <p:cNvPr id="22"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6" y="5943602"/>
            <a:ext cx="2574319"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sz="1351" dirty="0">
              <a:solidFill>
                <a:schemeClr val="tx1"/>
              </a:solidFill>
              <a:latin typeface="Arial" panose="020B0604020202020204" pitchFamily="34" charset="0"/>
              <a:cs typeface="Arial" panose="020B0604020202020204" pitchFamily="34" charset="0"/>
            </a:endParaRPr>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1" y="4298951"/>
            <a:ext cx="2175809" cy="193899"/>
          </a:xfrm>
          <a:prstGeom prst="rect">
            <a:avLst/>
          </a:prstGeom>
        </p:spPr>
        <p:txBody>
          <a:bodyPr wrap="none">
            <a:spAutoFit/>
          </a:bodyPr>
          <a:lstStyle>
            <a:lvl1pPr marL="0" indent="0" algn="l">
              <a:buNone/>
              <a:defRPr sz="1400" b="1" i="0" spc="30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DAY MONTH YEAR</a:t>
            </a:r>
          </a:p>
        </p:txBody>
      </p:sp>
      <p:sp>
        <p:nvSpPr>
          <p:cNvPr id="6" name="Espace réservé du texte 12">
            <a:extLst>
              <a:ext uri="{FF2B5EF4-FFF2-40B4-BE49-F238E27FC236}">
                <a16:creationId xmlns:a16="http://schemas.microsoft.com/office/drawing/2014/main" id="{52B1AC74-424E-4978-A5B4-EF39545E59DF}"/>
              </a:ext>
            </a:extLst>
          </p:cNvPr>
          <p:cNvSpPr>
            <a:spLocks noGrp="1"/>
          </p:cNvSpPr>
          <p:nvPr>
            <p:ph type="body" sz="quarter" idx="11" hasCustomPrompt="1"/>
          </p:nvPr>
        </p:nvSpPr>
        <p:spPr>
          <a:xfrm>
            <a:off x="1135373" y="3700889"/>
            <a:ext cx="1978212" cy="312478"/>
          </a:xfrm>
          <a:prstGeom prst="rect">
            <a:avLst/>
          </a:prstGeom>
          <a:solidFill>
            <a:schemeClr val="bg1"/>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CLIENT NAME</a:t>
            </a:r>
          </a:p>
        </p:txBody>
      </p:sp>
    </p:spTree>
    <p:extLst>
      <p:ext uri="{BB962C8B-B14F-4D97-AF65-F5344CB8AC3E}">
        <p14:creationId xmlns:p14="http://schemas.microsoft.com/office/powerpoint/2010/main" val="4140805515"/>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ue contents">
    <p:bg>
      <p:bgPr>
        <a:solidFill>
          <a:schemeClr val="tx1"/>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6" y="5943602"/>
            <a:ext cx="2574319"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sz="1351"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1"/>
            <a:ext cx="6191251" cy="1329595"/>
          </a:xfrm>
        </p:spPr>
        <p:txBody>
          <a:bodyPr/>
          <a:lstStyle>
            <a:lvl1pPr>
              <a:defRPr sz="9600" b="1">
                <a:solidFill>
                  <a:schemeClr val="bg1"/>
                </a:solidFill>
              </a:defRPr>
            </a:lvl1pPr>
          </a:lstStyle>
          <a:p>
            <a:r>
              <a:rPr lang="fr-FR" dirty="0"/>
              <a:t>contents</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1" cy="2954111"/>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ter</a:t>
            </a:r>
          </a:p>
        </p:txBody>
      </p:sp>
    </p:spTree>
    <p:extLst>
      <p:ext uri="{BB962C8B-B14F-4D97-AF65-F5344CB8AC3E}">
        <p14:creationId xmlns:p14="http://schemas.microsoft.com/office/powerpoint/2010/main" val="29384360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urple contents">
    <p:bg>
      <p:bgPr>
        <a:solidFill>
          <a:schemeClr val="tx2"/>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6" y="5943602"/>
            <a:ext cx="2574319"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sz="1351"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1"/>
            <a:ext cx="6191251" cy="1329595"/>
          </a:xfrm>
        </p:spPr>
        <p:txBody>
          <a:bodyPr/>
          <a:lstStyle>
            <a:lvl1pPr>
              <a:defRPr sz="9600" b="1">
                <a:solidFill>
                  <a:schemeClr val="bg1"/>
                </a:solidFill>
              </a:defRPr>
            </a:lvl1pPr>
          </a:lstStyle>
          <a:p>
            <a:r>
              <a:rPr lang="fr-FR" dirty="0"/>
              <a:t>contents</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1" cy="2954111"/>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ter</a:t>
            </a:r>
          </a:p>
        </p:txBody>
      </p:sp>
    </p:spTree>
    <p:extLst>
      <p:ext uri="{BB962C8B-B14F-4D97-AF65-F5344CB8AC3E}">
        <p14:creationId xmlns:p14="http://schemas.microsoft.com/office/powerpoint/2010/main" val="23863076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contents">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1"/>
            <a:ext cx="6191251" cy="1329595"/>
          </a:xfrm>
        </p:spPr>
        <p:txBody>
          <a:bodyPr/>
          <a:lstStyle>
            <a:lvl1pPr>
              <a:defRPr sz="9600" b="1">
                <a:solidFill>
                  <a:schemeClr val="tx2"/>
                </a:solidFill>
              </a:defRPr>
            </a:lvl1pPr>
          </a:lstStyle>
          <a:p>
            <a:r>
              <a:rPr lang="fr-FR" dirty="0"/>
              <a:t>contents</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1" cy="2954111"/>
          </a:xfrm>
        </p:spPr>
        <p:txBody>
          <a:bodyPr>
            <a:noAutofit/>
          </a:bodyPr>
          <a:lstStyle>
            <a:lvl1pPr marL="0" indent="0">
              <a:lnSpc>
                <a:spcPct val="100000"/>
              </a:lnSpc>
              <a:spcBef>
                <a:spcPts val="0"/>
              </a:spcBef>
              <a:buNone/>
              <a:defRPr sz="3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ter</a:t>
            </a:r>
          </a:p>
        </p:txBody>
      </p:sp>
      <p:sp>
        <p:nvSpPr>
          <p:cNvPr id="6" name="Freeform 5">
            <a:extLst>
              <a:ext uri="{FF2B5EF4-FFF2-40B4-BE49-F238E27FC236}">
                <a16:creationId xmlns:a16="http://schemas.microsoft.com/office/drawing/2014/main" id="{F8E3B9C8-10DF-49C3-98AD-9648E90DFBBE}"/>
              </a:ext>
            </a:extLst>
          </p:cNvPr>
          <p:cNvSpPr>
            <a:spLocks noEditPoints="1"/>
          </p:cNvSpPr>
          <p:nvPr userDrawn="1"/>
        </p:nvSpPr>
        <p:spPr bwMode="auto">
          <a:xfrm>
            <a:off x="8651986" y="5943602"/>
            <a:ext cx="2574319"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rgbClr val="3F2381"/>
          </a:solidFill>
          <a:ln>
            <a:noFill/>
          </a:ln>
        </p:spPr>
        <p:txBody>
          <a:bodyPr vert="horz" wrap="square" lIns="91440" tIns="45720" rIns="91440" bIns="45720" numCol="1" anchor="t" anchorCtr="0" compatLnSpc="1">
            <a:prstTxWarp prst="textNoShape">
              <a:avLst/>
            </a:prstTxWarp>
          </a:bodyPr>
          <a:lstStyle/>
          <a:p>
            <a:endParaRPr lang="fr-FR" sz="1351" dirty="0">
              <a:solidFill>
                <a:srgbClr val="3F238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82943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ENERAL - thank you">
    <p:bg>
      <p:bgPr>
        <a:solidFill>
          <a:schemeClr val="tx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4808842" y="5956854"/>
            <a:ext cx="2574319"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sz="1351" dirty="0">
              <a:solidFill>
                <a:schemeClr val="bg1"/>
              </a:solidFill>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6A38B8CE-E1A2-4BA0-AC9D-0E15EF70E3B1}"/>
              </a:ext>
            </a:extLst>
          </p:cNvPr>
          <p:cNvSpPr>
            <a:spLocks noGrp="1"/>
          </p:cNvSpPr>
          <p:nvPr>
            <p:ph type="ctrTitle" hasCustomPrompt="1"/>
          </p:nvPr>
        </p:nvSpPr>
        <p:spPr>
          <a:xfrm>
            <a:off x="1109786" y="2182123"/>
            <a:ext cx="9972431" cy="2281565"/>
          </a:xfrm>
          <a:prstGeom prst="rect">
            <a:avLst/>
          </a:prstGeom>
        </p:spPr>
        <p:txBody>
          <a:bodyPr anchor="t"/>
          <a:lstStyle>
            <a:lvl1pPr marL="0" algn="ctr" defTabSz="914377" rtl="0" eaLnBrk="1" latinLnBrk="0" hangingPunct="1">
              <a:lnSpc>
                <a:spcPct val="100000"/>
              </a:lnSpc>
              <a:defRPr lang="fr-FR" sz="14400" b="1" i="0" kern="1200" cap="none" spc="-300" baseline="0" dirty="0">
                <a:solidFill>
                  <a:schemeClr val="bg1"/>
                </a:solidFill>
                <a:latin typeface="Arial" panose="020B0604020202020204" pitchFamily="34" charset="0"/>
                <a:ea typeface="Montserrat" charset="0"/>
                <a:cs typeface="Arial" panose="020B0604020202020204" pitchFamily="34" charset="0"/>
              </a:defRPr>
            </a:lvl1pPr>
          </a:lstStyle>
          <a:p>
            <a:r>
              <a:rPr lang="fr-FR" dirty="0" err="1"/>
              <a:t>Thank</a:t>
            </a:r>
            <a:r>
              <a:rPr lang="fr-FR" dirty="0"/>
              <a:t> </a:t>
            </a:r>
            <a:r>
              <a:rPr lang="fr-FR" dirty="0" err="1"/>
              <a:t>you</a:t>
            </a:r>
            <a:endParaRPr lang="fr-FR" dirty="0"/>
          </a:p>
        </p:txBody>
      </p:sp>
    </p:spTree>
    <p:extLst>
      <p:ext uri="{BB962C8B-B14F-4D97-AF65-F5344CB8AC3E}">
        <p14:creationId xmlns:p14="http://schemas.microsoft.com/office/powerpoint/2010/main" val="998818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07988" y="1952626"/>
            <a:ext cx="11352212" cy="4140200"/>
          </a:xfrm>
        </p:spPr>
        <p:txBody>
          <a:bodyPr/>
          <a:lstStyle/>
          <a:p>
            <a:pPr lvl="0"/>
            <a:r>
              <a:rPr lang="en-US" dirty="0"/>
              <a:t>Modifier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6" name="Espace réservé du pied de page 4">
            <a:extLst>
              <a:ext uri="{FF2B5EF4-FFF2-40B4-BE49-F238E27FC236}">
                <a16:creationId xmlns:a16="http://schemas.microsoft.com/office/drawing/2014/main" id="{8DA3DA83-77DA-4016-B41B-E5AACBDAE9DA}"/>
              </a:ext>
            </a:extLst>
          </p:cNvPr>
          <p:cNvSpPr>
            <a:spLocks noGrp="1"/>
          </p:cNvSpPr>
          <p:nvPr>
            <p:ph type="ftr" sz="quarter" idx="3"/>
          </p:nvPr>
        </p:nvSpPr>
        <p:spPr>
          <a:xfrm>
            <a:off x="9906000" y="6436431"/>
            <a:ext cx="1679847" cy="234286"/>
          </a:xfrm>
          <a:prstGeom prst="rect">
            <a:avLst/>
          </a:prstGeom>
        </p:spPr>
        <p:txBody>
          <a:bodyPr vert="horz" wrap="square" lIns="36000" tIns="36000" rIns="36000" bIns="36000" rtlCol="0" anchor="ctr">
            <a:spAutoFit/>
          </a:bodyPr>
          <a:lstStyle>
            <a:lvl1pPr algn="r">
              <a:defRPr sz="1050">
                <a:solidFill>
                  <a:schemeClr val="tx1"/>
                </a:solidFill>
                <a:latin typeface="+mn-lt"/>
              </a:defRPr>
            </a:lvl1pPr>
          </a:lstStyle>
          <a:p>
            <a:r>
              <a:rPr lang="en-US" dirty="0"/>
              <a:t>2019 Full-Year Results</a:t>
            </a:r>
          </a:p>
        </p:txBody>
      </p:sp>
      <p:sp>
        <p:nvSpPr>
          <p:cNvPr id="17" name="Espace réservé du numéro de diapositive 5">
            <a:extLst>
              <a:ext uri="{FF2B5EF4-FFF2-40B4-BE49-F238E27FC236}">
                <a16:creationId xmlns:a16="http://schemas.microsoft.com/office/drawing/2014/main" id="{CC54CC74-1140-4969-8BC8-66CB368397CB}"/>
              </a:ext>
            </a:extLst>
          </p:cNvPr>
          <p:cNvSpPr>
            <a:spLocks noGrp="1"/>
          </p:cNvSpPr>
          <p:nvPr>
            <p:ph type="sldNum" sz="quarter" idx="4"/>
          </p:nvPr>
        </p:nvSpPr>
        <p:spPr>
          <a:xfrm>
            <a:off x="11632613" y="6436431"/>
            <a:ext cx="330787" cy="234286"/>
          </a:xfrm>
          <a:prstGeom prst="rect">
            <a:avLst/>
          </a:prstGeom>
        </p:spPr>
        <p:txBody>
          <a:bodyPr vert="horz" wrap="none" lIns="36000" tIns="36000" rIns="36000" bIns="36000" rtlCol="0" anchor="ctr">
            <a:spAutoFit/>
          </a:bodyPr>
          <a:lstStyle>
            <a:lvl1pPr algn="r">
              <a:defRPr sz="1050">
                <a:solidFill>
                  <a:schemeClr val="bg1">
                    <a:lumMod val="50000"/>
                  </a:schemeClr>
                </a:solidFill>
                <a:latin typeface="+mn-lt"/>
              </a:defRPr>
            </a:lvl1pPr>
          </a:lstStyle>
          <a:p>
            <a:fld id="{12C5DC16-0D22-4C7F-9249-BF4D2D91D79F}" type="slidenum">
              <a:rPr lang="en-US" smtClean="0"/>
              <a:pPr/>
              <a:t>‹#›</a:t>
            </a:fld>
            <a:endParaRPr lang="en-US" dirty="0"/>
          </a:p>
        </p:txBody>
      </p:sp>
      <p:sp>
        <p:nvSpPr>
          <p:cNvPr id="2" name="Titre 1">
            <a:extLst>
              <a:ext uri="{FF2B5EF4-FFF2-40B4-BE49-F238E27FC236}">
                <a16:creationId xmlns:a16="http://schemas.microsoft.com/office/drawing/2014/main" id="{1466FBB8-1D83-4B55-B97F-2167D2E8567F}"/>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1103270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pter - color 1">
    <p:bg>
      <p:bgPr>
        <a:solidFill>
          <a:schemeClr val="tx2"/>
        </a:solidFill>
        <a:effectLst/>
      </p:bgPr>
    </p:bg>
    <p:spTree>
      <p:nvGrpSpPr>
        <p:cNvPr id="1" name=""/>
        <p:cNvGrpSpPr/>
        <p:nvPr/>
      </p:nvGrpSpPr>
      <p:grpSpPr>
        <a:xfrm>
          <a:off x="0" y="0"/>
          <a:ext cx="0" cy="0"/>
          <a:chOff x="0" y="0"/>
          <a:chExt cx="0" cy="0"/>
        </a:xfrm>
      </p:grpSpPr>
      <p:sp>
        <p:nvSpPr>
          <p:cNvPr id="8" name="Forme libre : forme 7">
            <a:extLst>
              <a:ext uri="{FF2B5EF4-FFF2-40B4-BE49-F238E27FC236}">
                <a16:creationId xmlns:a16="http://schemas.microsoft.com/office/drawing/2014/main" id="{46B4955B-E954-4D1C-A8AC-F819D9523177}"/>
              </a:ext>
            </a:extLst>
          </p:cNvPr>
          <p:cNvSpPr/>
          <p:nvPr userDrawn="1"/>
        </p:nvSpPr>
        <p:spPr>
          <a:xfrm flipH="1">
            <a:off x="1555507" y="0"/>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351" dirty="0">
              <a:latin typeface="Arial" panose="020B0604020202020204" pitchFamily="34" charset="0"/>
              <a:cs typeface="Arial" panose="020B0604020202020204" pitchFamily="34" charset="0"/>
            </a:endParaRPr>
          </a:p>
        </p:txBody>
      </p:sp>
      <p:sp>
        <p:nvSpPr>
          <p:cNvPr id="5"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2537435" y="2350110"/>
            <a:ext cx="3777671" cy="2110767"/>
          </a:xfrm>
          <a:prstGeom prst="rect">
            <a:avLst/>
          </a:prstGeom>
        </p:spPr>
        <p:txBody>
          <a:bodyPr anchor="t">
            <a:noAutofit/>
          </a:bodyPr>
          <a:lstStyle>
            <a:lvl1pPr marL="0" marR="0" indent="0" algn="l" defTabSz="914377"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Title</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799AE4CB-908E-430E-A1B8-1F7A5B229505}"/>
              </a:ext>
            </a:extLst>
          </p:cNvPr>
          <p:cNvSpPr>
            <a:spLocks noGrp="1"/>
          </p:cNvSpPr>
          <p:nvPr>
            <p:ph type="body" sz="quarter" idx="10" hasCustomPrompt="1"/>
          </p:nvPr>
        </p:nvSpPr>
        <p:spPr>
          <a:xfrm>
            <a:off x="2308748" y="599012"/>
            <a:ext cx="2716213" cy="2008187"/>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1</a:t>
            </a:r>
          </a:p>
        </p:txBody>
      </p:sp>
    </p:spTree>
    <p:extLst>
      <p:ext uri="{BB962C8B-B14F-4D97-AF65-F5344CB8AC3E}">
        <p14:creationId xmlns:p14="http://schemas.microsoft.com/office/powerpoint/2010/main" val="114206760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pter - color 2">
    <p:bg>
      <p:bgPr>
        <a:solidFill>
          <a:srgbClr val="A954F3"/>
        </a:solidFill>
        <a:effectLst/>
      </p:bgPr>
    </p:bg>
    <p:spTree>
      <p:nvGrpSpPr>
        <p:cNvPr id="1" name=""/>
        <p:cNvGrpSpPr/>
        <p:nvPr/>
      </p:nvGrpSpPr>
      <p:grpSpPr>
        <a:xfrm>
          <a:off x="0" y="0"/>
          <a:ext cx="0" cy="0"/>
          <a:chOff x="0" y="0"/>
          <a:chExt cx="0" cy="0"/>
        </a:xfrm>
      </p:grpSpPr>
      <p:sp>
        <p:nvSpPr>
          <p:cNvPr id="6" name="Forme libre : forme 5">
            <a:extLst>
              <a:ext uri="{FF2B5EF4-FFF2-40B4-BE49-F238E27FC236}">
                <a16:creationId xmlns:a16="http://schemas.microsoft.com/office/drawing/2014/main" id="{08A66C0B-7A91-49D1-B6DC-75E2CABB243D}"/>
              </a:ext>
            </a:extLst>
          </p:cNvPr>
          <p:cNvSpPr/>
          <p:nvPr userDrawn="1"/>
        </p:nvSpPr>
        <p:spPr>
          <a:xfrm flipH="1">
            <a:off x="1555507" y="0"/>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351" dirty="0">
              <a:latin typeface="Arial" panose="020B0604020202020204" pitchFamily="34" charset="0"/>
              <a:cs typeface="Arial" panose="020B0604020202020204" pitchFamily="34" charset="0"/>
            </a:endParaRPr>
          </a:p>
        </p:txBody>
      </p:sp>
      <p:sp>
        <p:nvSpPr>
          <p:cNvPr id="10" name="Titre 1">
            <a:extLst>
              <a:ext uri="{FF2B5EF4-FFF2-40B4-BE49-F238E27FC236}">
                <a16:creationId xmlns:a16="http://schemas.microsoft.com/office/drawing/2014/main" id="{EE69A519-AD58-4C3A-B352-6640C7E8B143}"/>
              </a:ext>
            </a:extLst>
          </p:cNvPr>
          <p:cNvSpPr>
            <a:spLocks noGrp="1"/>
          </p:cNvSpPr>
          <p:nvPr>
            <p:ph type="ctrTitle" hasCustomPrompt="1"/>
          </p:nvPr>
        </p:nvSpPr>
        <p:spPr>
          <a:xfrm>
            <a:off x="2538938" y="2355129"/>
            <a:ext cx="3777671" cy="2105747"/>
          </a:xfrm>
          <a:prstGeom prst="rect">
            <a:avLst/>
          </a:prstGeom>
        </p:spPr>
        <p:txBody>
          <a:bodyPr anchor="t">
            <a:noAutofit/>
          </a:bodyPr>
          <a:lstStyle>
            <a:lvl1pPr marL="0" marR="0" indent="0" algn="l" defTabSz="914377"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Title</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9801D7F0-302B-430F-A9BA-74D361B81CA5}"/>
              </a:ext>
            </a:extLst>
          </p:cNvPr>
          <p:cNvSpPr>
            <a:spLocks noGrp="1"/>
          </p:cNvSpPr>
          <p:nvPr>
            <p:ph type="body" sz="quarter" idx="10" hasCustomPrompt="1"/>
          </p:nvPr>
        </p:nvSpPr>
        <p:spPr>
          <a:xfrm>
            <a:off x="2308748" y="599012"/>
            <a:ext cx="2725739" cy="2008187"/>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2</a:t>
            </a:r>
          </a:p>
        </p:txBody>
      </p:sp>
    </p:spTree>
    <p:extLst>
      <p:ext uri="{BB962C8B-B14F-4D97-AF65-F5344CB8AC3E}">
        <p14:creationId xmlns:p14="http://schemas.microsoft.com/office/powerpoint/2010/main" val="20401948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pter - color 3">
    <p:bg>
      <p:bgPr>
        <a:solidFill>
          <a:schemeClr val="accent5"/>
        </a:solidFill>
        <a:effectLst/>
      </p:bgPr>
    </p:bg>
    <p:spTree>
      <p:nvGrpSpPr>
        <p:cNvPr id="1" name=""/>
        <p:cNvGrpSpPr/>
        <p:nvPr/>
      </p:nvGrpSpPr>
      <p:grpSpPr>
        <a:xfrm>
          <a:off x="0" y="0"/>
          <a:ext cx="0" cy="0"/>
          <a:chOff x="0" y="0"/>
          <a:chExt cx="0" cy="0"/>
        </a:xfrm>
      </p:grpSpPr>
      <p:sp>
        <p:nvSpPr>
          <p:cNvPr id="6" name="Forme libre : forme 5">
            <a:extLst>
              <a:ext uri="{FF2B5EF4-FFF2-40B4-BE49-F238E27FC236}">
                <a16:creationId xmlns:a16="http://schemas.microsoft.com/office/drawing/2014/main" id="{BC1F219E-6EE5-45E1-95BF-24AF2AE9B670}"/>
              </a:ext>
            </a:extLst>
          </p:cNvPr>
          <p:cNvSpPr/>
          <p:nvPr userDrawn="1"/>
        </p:nvSpPr>
        <p:spPr>
          <a:xfrm flipH="1">
            <a:off x="1555507" y="0"/>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351" dirty="0">
              <a:latin typeface="Arial" panose="020B0604020202020204" pitchFamily="34" charset="0"/>
              <a:cs typeface="Arial" panose="020B0604020202020204" pitchFamily="34" charset="0"/>
            </a:endParaRPr>
          </a:p>
        </p:txBody>
      </p:sp>
      <p:sp>
        <p:nvSpPr>
          <p:cNvPr id="7" name="Titre 1">
            <a:extLst>
              <a:ext uri="{FF2B5EF4-FFF2-40B4-BE49-F238E27FC236}">
                <a16:creationId xmlns:a16="http://schemas.microsoft.com/office/drawing/2014/main" id="{7E4C8E49-10A8-4B97-A07C-9996B4509580}"/>
              </a:ext>
            </a:extLst>
          </p:cNvPr>
          <p:cNvSpPr>
            <a:spLocks noGrp="1"/>
          </p:cNvSpPr>
          <p:nvPr>
            <p:ph type="ctrTitle" hasCustomPrompt="1"/>
          </p:nvPr>
        </p:nvSpPr>
        <p:spPr>
          <a:xfrm>
            <a:off x="2538938" y="2351611"/>
            <a:ext cx="3777671" cy="2109264"/>
          </a:xfrm>
          <a:prstGeom prst="rect">
            <a:avLst/>
          </a:prstGeom>
        </p:spPr>
        <p:txBody>
          <a:bodyPr anchor="t">
            <a:noAutofit/>
          </a:bodyPr>
          <a:lstStyle>
            <a:lvl1pPr marL="0" marR="0" indent="0" algn="l" defTabSz="914377"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Title</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023D8E09-40CF-44DA-A7C9-FA9300E41A29}"/>
              </a:ext>
            </a:extLst>
          </p:cNvPr>
          <p:cNvSpPr>
            <a:spLocks noGrp="1"/>
          </p:cNvSpPr>
          <p:nvPr>
            <p:ph type="body" sz="quarter" idx="10" hasCustomPrompt="1"/>
          </p:nvPr>
        </p:nvSpPr>
        <p:spPr>
          <a:xfrm>
            <a:off x="2298700" y="588964"/>
            <a:ext cx="2725739" cy="2008187"/>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3</a:t>
            </a:r>
          </a:p>
        </p:txBody>
      </p:sp>
    </p:spTree>
    <p:extLst>
      <p:ext uri="{BB962C8B-B14F-4D97-AF65-F5344CB8AC3E}">
        <p14:creationId xmlns:p14="http://schemas.microsoft.com/office/powerpoint/2010/main" val="36329218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 color 4">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A6029C02-FF1D-4946-B0E8-50832E90EF58}"/>
              </a:ext>
            </a:extLst>
          </p:cNvPr>
          <p:cNvSpPr/>
          <p:nvPr userDrawn="1"/>
        </p:nvSpPr>
        <p:spPr>
          <a:xfrm flipH="1">
            <a:off x="1555507" y="0"/>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351" dirty="0">
              <a:latin typeface="Arial" panose="020B0604020202020204" pitchFamily="34" charset="0"/>
              <a:cs typeface="Arial" panose="020B0604020202020204" pitchFamily="34" charset="0"/>
            </a:endParaRPr>
          </a:p>
        </p:txBody>
      </p:sp>
      <p:sp>
        <p:nvSpPr>
          <p:cNvPr id="10" name="Titre 1">
            <a:extLst>
              <a:ext uri="{FF2B5EF4-FFF2-40B4-BE49-F238E27FC236}">
                <a16:creationId xmlns:a16="http://schemas.microsoft.com/office/drawing/2014/main" id="{8B777760-0DDA-4E7E-AD3C-49A729EBF753}"/>
              </a:ext>
            </a:extLst>
          </p:cNvPr>
          <p:cNvSpPr>
            <a:spLocks noGrp="1"/>
          </p:cNvSpPr>
          <p:nvPr>
            <p:ph type="ctrTitle" hasCustomPrompt="1"/>
          </p:nvPr>
        </p:nvSpPr>
        <p:spPr>
          <a:xfrm>
            <a:off x="2545637" y="2351611"/>
            <a:ext cx="3777671" cy="2109264"/>
          </a:xfrm>
          <a:prstGeom prst="rect">
            <a:avLst/>
          </a:prstGeom>
        </p:spPr>
        <p:txBody>
          <a:bodyPr anchor="t">
            <a:noAutofit/>
          </a:bodyPr>
          <a:lstStyle>
            <a:lvl1pPr marL="0" marR="0" indent="0" algn="l" defTabSz="914377"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Title</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endParaRPr lang="fr-FR" dirty="0"/>
          </a:p>
        </p:txBody>
      </p:sp>
      <p:sp>
        <p:nvSpPr>
          <p:cNvPr id="3" name="Espace réservé du texte 2">
            <a:extLst>
              <a:ext uri="{FF2B5EF4-FFF2-40B4-BE49-F238E27FC236}">
                <a16:creationId xmlns:a16="http://schemas.microsoft.com/office/drawing/2014/main" id="{28FFC03C-7CFC-4A37-8DCF-CD7633361C95}"/>
              </a:ext>
            </a:extLst>
          </p:cNvPr>
          <p:cNvSpPr>
            <a:spLocks noGrp="1"/>
          </p:cNvSpPr>
          <p:nvPr>
            <p:ph type="body" sz="quarter" idx="10" hasCustomPrompt="1"/>
          </p:nvPr>
        </p:nvSpPr>
        <p:spPr>
          <a:xfrm>
            <a:off x="2298700" y="588964"/>
            <a:ext cx="2725739" cy="2008187"/>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4</a:t>
            </a:r>
          </a:p>
        </p:txBody>
      </p:sp>
    </p:spTree>
    <p:extLst>
      <p:ext uri="{BB962C8B-B14F-4D97-AF65-F5344CB8AC3E}">
        <p14:creationId xmlns:p14="http://schemas.microsoft.com/office/powerpoint/2010/main" val="28000066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pter - color 5">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EFAE98A2-8138-4EE9-A8BE-5A0AFAE9122D}"/>
              </a:ext>
            </a:extLst>
          </p:cNvPr>
          <p:cNvSpPr/>
          <p:nvPr userDrawn="1"/>
        </p:nvSpPr>
        <p:spPr>
          <a:xfrm flipH="1">
            <a:off x="1555507" y="0"/>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351" dirty="0">
              <a:latin typeface="Arial" panose="020B0604020202020204" pitchFamily="34" charset="0"/>
              <a:cs typeface="Arial" panose="020B0604020202020204" pitchFamily="34" charset="0"/>
            </a:endParaRPr>
          </a:p>
        </p:txBody>
      </p:sp>
      <p:sp>
        <p:nvSpPr>
          <p:cNvPr id="9" name="Titre 1">
            <a:extLst>
              <a:ext uri="{FF2B5EF4-FFF2-40B4-BE49-F238E27FC236}">
                <a16:creationId xmlns:a16="http://schemas.microsoft.com/office/drawing/2014/main" id="{4540555D-49F7-4ED2-A528-60D56A5F6794}"/>
              </a:ext>
            </a:extLst>
          </p:cNvPr>
          <p:cNvSpPr>
            <a:spLocks noGrp="1"/>
          </p:cNvSpPr>
          <p:nvPr>
            <p:ph type="ctrTitle" hasCustomPrompt="1"/>
          </p:nvPr>
        </p:nvSpPr>
        <p:spPr>
          <a:xfrm>
            <a:off x="2538938" y="2351611"/>
            <a:ext cx="3777671" cy="2109264"/>
          </a:xfrm>
          <a:prstGeom prst="rect">
            <a:avLst/>
          </a:prstGeom>
        </p:spPr>
        <p:txBody>
          <a:bodyPr anchor="t">
            <a:noAutofit/>
          </a:bodyPr>
          <a:lstStyle>
            <a:lvl1pPr marL="0" marR="0" indent="0" algn="l" defTabSz="914377"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Title</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DA3FB132-A5FB-466B-A2CF-DB3C1F80D679}"/>
              </a:ext>
            </a:extLst>
          </p:cNvPr>
          <p:cNvSpPr>
            <a:spLocks noGrp="1"/>
          </p:cNvSpPr>
          <p:nvPr>
            <p:ph type="body" sz="quarter" idx="10" hasCustomPrompt="1"/>
          </p:nvPr>
        </p:nvSpPr>
        <p:spPr>
          <a:xfrm>
            <a:off x="2308750" y="599012"/>
            <a:ext cx="2735263" cy="2008187"/>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5</a:t>
            </a:r>
          </a:p>
        </p:txBody>
      </p:sp>
    </p:spTree>
    <p:extLst>
      <p:ext uri="{BB962C8B-B14F-4D97-AF65-F5344CB8AC3E}">
        <p14:creationId xmlns:p14="http://schemas.microsoft.com/office/powerpoint/2010/main" val="36835421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pter - color 6">
    <p:bg>
      <p:bgPr>
        <a:solidFill>
          <a:schemeClr val="accent4"/>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7BEED087-F2FD-4906-8C61-61A7C5DBF264}"/>
              </a:ext>
            </a:extLst>
          </p:cNvPr>
          <p:cNvSpPr/>
          <p:nvPr userDrawn="1"/>
        </p:nvSpPr>
        <p:spPr>
          <a:xfrm flipH="1">
            <a:off x="1555507" y="0"/>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351" dirty="0">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032A1E69-C3B5-4A64-938E-FB5B8479C75A}"/>
              </a:ext>
            </a:extLst>
          </p:cNvPr>
          <p:cNvSpPr>
            <a:spLocks noGrp="1"/>
          </p:cNvSpPr>
          <p:nvPr>
            <p:ph type="ctrTitle" hasCustomPrompt="1"/>
          </p:nvPr>
        </p:nvSpPr>
        <p:spPr>
          <a:xfrm>
            <a:off x="2542634" y="2351611"/>
            <a:ext cx="3777671" cy="2109264"/>
          </a:xfrm>
          <a:prstGeom prst="rect">
            <a:avLst/>
          </a:prstGeom>
        </p:spPr>
        <p:txBody>
          <a:bodyPr anchor="t">
            <a:noAutofit/>
          </a:bodyPr>
          <a:lstStyle>
            <a:lvl1pPr marL="0" marR="0" indent="0" algn="l" defTabSz="914377"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Title</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7E0259E2-894B-4020-B82B-15BFEE276568}"/>
              </a:ext>
            </a:extLst>
          </p:cNvPr>
          <p:cNvSpPr>
            <a:spLocks noGrp="1"/>
          </p:cNvSpPr>
          <p:nvPr>
            <p:ph type="body" sz="quarter" idx="10" hasCustomPrompt="1"/>
          </p:nvPr>
        </p:nvSpPr>
        <p:spPr>
          <a:xfrm>
            <a:off x="2298700" y="588964"/>
            <a:ext cx="2725739" cy="2008187"/>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6</a:t>
            </a:r>
          </a:p>
        </p:txBody>
      </p:sp>
    </p:spTree>
    <p:extLst>
      <p:ext uri="{BB962C8B-B14F-4D97-AF65-F5344CB8AC3E}">
        <p14:creationId xmlns:p14="http://schemas.microsoft.com/office/powerpoint/2010/main" val="15565281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pter - color 7">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9B918CD8-03E5-4DBF-B058-8714A6F9F991}"/>
              </a:ext>
            </a:extLst>
          </p:cNvPr>
          <p:cNvSpPr/>
          <p:nvPr userDrawn="1"/>
        </p:nvSpPr>
        <p:spPr>
          <a:xfrm flipH="1">
            <a:off x="1555507" y="0"/>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351" dirty="0">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36201EFC-76F8-4DC5-813E-EECEF163CA3C}"/>
              </a:ext>
            </a:extLst>
          </p:cNvPr>
          <p:cNvSpPr>
            <a:spLocks noGrp="1"/>
          </p:cNvSpPr>
          <p:nvPr>
            <p:ph type="ctrTitle" hasCustomPrompt="1"/>
          </p:nvPr>
        </p:nvSpPr>
        <p:spPr>
          <a:xfrm>
            <a:off x="2538938" y="2355129"/>
            <a:ext cx="3777671" cy="2105747"/>
          </a:xfrm>
          <a:prstGeom prst="rect">
            <a:avLst/>
          </a:prstGeom>
        </p:spPr>
        <p:txBody>
          <a:bodyPr anchor="t">
            <a:noAutofit/>
          </a:bodyPr>
          <a:lstStyle>
            <a:lvl1pPr marL="0" marR="0" indent="0" algn="l" defTabSz="914377"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Title</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D2E49864-5F6C-401E-87AC-0DCE65419AE8}"/>
              </a:ext>
            </a:extLst>
          </p:cNvPr>
          <p:cNvSpPr>
            <a:spLocks noGrp="1"/>
          </p:cNvSpPr>
          <p:nvPr>
            <p:ph type="body" sz="quarter" idx="10" hasCustomPrompt="1"/>
          </p:nvPr>
        </p:nvSpPr>
        <p:spPr>
          <a:xfrm>
            <a:off x="2308750" y="599012"/>
            <a:ext cx="2735263" cy="2008187"/>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7</a:t>
            </a:r>
          </a:p>
        </p:txBody>
      </p:sp>
    </p:spTree>
    <p:extLst>
      <p:ext uri="{BB962C8B-B14F-4D97-AF65-F5344CB8AC3E}">
        <p14:creationId xmlns:p14="http://schemas.microsoft.com/office/powerpoint/2010/main" val="37058364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hapter summary">
    <p:spTree>
      <p:nvGrpSpPr>
        <p:cNvPr id="1" name=""/>
        <p:cNvGrpSpPr/>
        <p:nvPr/>
      </p:nvGrpSpPr>
      <p:grpSpPr>
        <a:xfrm>
          <a:off x="0" y="0"/>
          <a:ext cx="0" cy="0"/>
          <a:chOff x="0" y="0"/>
          <a:chExt cx="0" cy="0"/>
        </a:xfrm>
      </p:grpSpPr>
      <p:sp>
        <p:nvSpPr>
          <p:cNvPr id="11" name="Espace réservé du texte 5">
            <a:extLst>
              <a:ext uri="{FF2B5EF4-FFF2-40B4-BE49-F238E27FC236}">
                <a16:creationId xmlns:a16="http://schemas.microsoft.com/office/drawing/2014/main" id="{27C16BB3-6421-4A83-B0C9-DBE4919C18F4}"/>
              </a:ext>
            </a:extLst>
          </p:cNvPr>
          <p:cNvSpPr>
            <a:spLocks noGrp="1"/>
          </p:cNvSpPr>
          <p:nvPr>
            <p:ph type="body" sz="quarter" idx="12" hasCustomPrompt="1"/>
          </p:nvPr>
        </p:nvSpPr>
        <p:spPr>
          <a:xfrm>
            <a:off x="838802" y="1022400"/>
            <a:ext cx="10441975" cy="1508415"/>
          </a:xfrm>
          <a:prstGeom prst="rect">
            <a:avLst/>
          </a:prstGeom>
        </p:spPr>
        <p:txBody>
          <a:bodyPr anchor="t" anchorCtr="0"/>
          <a:lstStyle>
            <a:lvl1pPr marL="0" marR="0" indent="0" algn="l" defTabSz="914377" rtl="0" eaLnBrk="1" fontAlgn="auto" latinLnBrk="0" hangingPunct="1">
              <a:lnSpc>
                <a:spcPct val="90000"/>
              </a:lnSpc>
              <a:spcBef>
                <a:spcPct val="0"/>
              </a:spcBef>
              <a:spcAft>
                <a:spcPts val="0"/>
              </a:spcAft>
              <a:buClrTx/>
              <a:buSzTx/>
              <a:buFontTx/>
              <a:buNone/>
              <a:tabLst/>
              <a:defRPr lang="fr-FR" sz="2800" b="1" kern="1200" cap="none" spc="0" baseline="0" dirty="0">
                <a:solidFill>
                  <a:schemeClr val="tx2"/>
                </a:solidFill>
                <a:latin typeface="Arial" panose="020B0604020202020204" pitchFamily="34" charset="0"/>
                <a:ea typeface="Arial" charset="0"/>
                <a:cs typeface="Arial" panose="020B0604020202020204" pitchFamily="34" charset="0"/>
              </a:defRPr>
            </a:lvl1pPr>
          </a:lstStyle>
          <a:p>
            <a:pPr lvl="0"/>
            <a:r>
              <a:rPr lang="fr-FR" sz="2800">
                <a:solidFill>
                  <a:schemeClr val="tx1"/>
                </a:solidFill>
                <a:latin typeface="Arial" panose="020B0604020202020204" pitchFamily="34" charset="0"/>
                <a:cs typeface="Arial" panose="020B0604020202020204" pitchFamily="34" charset="0"/>
              </a:rPr>
              <a:t>1.1 </a:t>
            </a:r>
            <a:r>
              <a:rPr lang="fr-FR"/>
              <a:t>Subtitle</a:t>
            </a:r>
            <a:endParaRPr lang="fr-FR" dirty="0"/>
          </a:p>
        </p:txBody>
      </p:sp>
      <p:sp>
        <p:nvSpPr>
          <p:cNvPr id="2" name="Espace réservé du pied de page 1">
            <a:extLst>
              <a:ext uri="{FF2B5EF4-FFF2-40B4-BE49-F238E27FC236}">
                <a16:creationId xmlns:a16="http://schemas.microsoft.com/office/drawing/2014/main" id="{090ECECF-F8EE-472F-AAAC-77516672C0AA}"/>
              </a:ext>
            </a:extLst>
          </p:cNvPr>
          <p:cNvSpPr>
            <a:spLocks noGrp="1"/>
          </p:cNvSpPr>
          <p:nvPr>
            <p:ph type="ftr" sz="quarter" idx="13"/>
          </p:nvPr>
        </p:nvSpPr>
        <p:spPr/>
        <p:txBody>
          <a:bodyPr/>
          <a:lstStyle/>
          <a:p>
            <a:r>
              <a:rPr lang="fr-FR" cap="none">
                <a:solidFill>
                  <a:schemeClr val="tx2"/>
                </a:solidFill>
              </a:rPr>
              <a:t>Ut id mauris dapibus, semper eros ac, porttitor mauris </a:t>
            </a:r>
            <a:r>
              <a:rPr lang="fr-FR" cap="none">
                <a:solidFill>
                  <a:schemeClr val="tx1"/>
                </a:solidFill>
              </a:rPr>
              <a:t>sujet de la présentation – V°001 | 27 juillet 2018</a:t>
            </a:r>
            <a:endParaRPr lang="fr-FR" cap="none" dirty="0">
              <a:solidFill>
                <a:schemeClr val="tx1"/>
              </a:solidFill>
            </a:endParaRPr>
          </a:p>
        </p:txBody>
      </p:sp>
      <p:sp>
        <p:nvSpPr>
          <p:cNvPr id="3" name="Espace réservé du numéro de diapositive 2">
            <a:extLst>
              <a:ext uri="{FF2B5EF4-FFF2-40B4-BE49-F238E27FC236}">
                <a16:creationId xmlns:a16="http://schemas.microsoft.com/office/drawing/2014/main" id="{35EB5593-5AB2-4459-A5A0-245869585A7E}"/>
              </a:ext>
            </a:extLst>
          </p:cNvPr>
          <p:cNvSpPr>
            <a:spLocks noGrp="1"/>
          </p:cNvSpPr>
          <p:nvPr>
            <p:ph type="sldNum" sz="quarter" idx="14"/>
          </p:nvPr>
        </p:nvSpPr>
        <p:spPr/>
        <p:txBody>
          <a:bodyPr/>
          <a:lstStyle/>
          <a:p>
            <a:fld id="{16F61B19-5FB1-451F-938F-D0B1FAC2BDF6}" type="slidenum">
              <a:rPr lang="fr-FR" smtClean="0"/>
              <a:pPr/>
              <a:t>‹#›</a:t>
            </a:fld>
            <a:endParaRPr lang="fr-FR"/>
          </a:p>
        </p:txBody>
      </p:sp>
      <p:sp>
        <p:nvSpPr>
          <p:cNvPr id="6" name="Titre 5">
            <a:extLst>
              <a:ext uri="{FF2B5EF4-FFF2-40B4-BE49-F238E27FC236}">
                <a16:creationId xmlns:a16="http://schemas.microsoft.com/office/drawing/2014/main" id="{8660AA14-17CC-44B4-8530-F53B98A1819A}"/>
              </a:ext>
            </a:extLst>
          </p:cNvPr>
          <p:cNvSpPr>
            <a:spLocks noGrp="1"/>
          </p:cNvSpPr>
          <p:nvPr>
            <p:ph type="title" hasCustomPrompt="1"/>
          </p:nvPr>
        </p:nvSpPr>
        <p:spPr/>
        <p:txBody>
          <a:bodyPr/>
          <a:lstStyle>
            <a:lvl1pPr>
              <a:defRPr/>
            </a:lvl1pPr>
          </a:lstStyle>
          <a:p>
            <a:r>
              <a:rPr lang="fr-FR"/>
              <a:t>Title chapter </a:t>
            </a:r>
          </a:p>
        </p:txBody>
      </p:sp>
    </p:spTree>
    <p:extLst>
      <p:ext uri="{BB962C8B-B14F-4D97-AF65-F5344CB8AC3E}">
        <p14:creationId xmlns:p14="http://schemas.microsoft.com/office/powerpoint/2010/main" val="42435665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57385EAD-91BF-41DD-A948-4BB5CF69B747}"/>
              </a:ext>
            </a:extLst>
          </p:cNvPr>
          <p:cNvSpPr>
            <a:spLocks noGrp="1"/>
          </p:cNvSpPr>
          <p:nvPr>
            <p:ph type="title" hasCustomPrompt="1"/>
          </p:nvPr>
        </p:nvSpPr>
        <p:spPr/>
        <p:txBody>
          <a:bodyPr/>
          <a:lstStyle>
            <a:lvl1pPr>
              <a:defRPr/>
            </a:lvl1pPr>
          </a:lstStyle>
          <a:p>
            <a:r>
              <a:rPr lang="fr-FR"/>
              <a:t>Title chapter</a:t>
            </a:r>
          </a:p>
        </p:txBody>
      </p:sp>
      <p:sp>
        <p:nvSpPr>
          <p:cNvPr id="9" name="Espace réservé du pied de page 8">
            <a:extLst>
              <a:ext uri="{FF2B5EF4-FFF2-40B4-BE49-F238E27FC236}">
                <a16:creationId xmlns:a16="http://schemas.microsoft.com/office/drawing/2014/main" id="{EA13E3DF-15F4-4B75-83F6-023D046F2F55}"/>
              </a:ext>
            </a:extLst>
          </p:cNvPr>
          <p:cNvSpPr>
            <a:spLocks noGrp="1"/>
          </p:cNvSpPr>
          <p:nvPr>
            <p:ph type="ftr" sz="quarter" idx="10"/>
          </p:nvPr>
        </p:nvSpPr>
        <p:spPr/>
        <p:txBody>
          <a:bodyPr/>
          <a:lstStyle/>
          <a:p>
            <a:r>
              <a:rPr lang="fr-FR" cap="none">
                <a:solidFill>
                  <a:schemeClr val="tx2"/>
                </a:solidFill>
              </a:rPr>
              <a:t>Ut id mauris dapibus, semper eros ac, porttitor mauris </a:t>
            </a:r>
            <a:r>
              <a:rPr lang="fr-FR" cap="none">
                <a:solidFill>
                  <a:schemeClr val="tx1"/>
                </a:solidFill>
              </a:rPr>
              <a:t>sujet de la présentation – V°001 | 27 juillet 2018</a:t>
            </a:r>
            <a:endParaRPr lang="fr-FR" cap="none" dirty="0">
              <a:solidFill>
                <a:schemeClr val="tx1"/>
              </a:solidFill>
            </a:endParaRPr>
          </a:p>
        </p:txBody>
      </p:sp>
      <p:sp>
        <p:nvSpPr>
          <p:cNvPr id="10" name="Espace réservé du numéro de diapositive 9">
            <a:extLst>
              <a:ext uri="{FF2B5EF4-FFF2-40B4-BE49-F238E27FC236}">
                <a16:creationId xmlns:a16="http://schemas.microsoft.com/office/drawing/2014/main" id="{32C03E7B-CBCE-47FD-95FB-2D4D91E2CF0B}"/>
              </a:ext>
            </a:extLst>
          </p:cNvPr>
          <p:cNvSpPr>
            <a:spLocks noGrp="1"/>
          </p:cNvSpPr>
          <p:nvPr>
            <p:ph type="sldNum" sz="quarter" idx="11"/>
          </p:nvPr>
        </p:nvSpPr>
        <p:spPr/>
        <p:txBody>
          <a:bodyPr/>
          <a:lstStyle/>
          <a:p>
            <a:fld id="{16F61B19-5FB1-451F-938F-D0B1FAC2BDF6}" type="slidenum">
              <a:rPr lang="fr-FR" smtClean="0"/>
              <a:pPr/>
              <a:t>‹#›</a:t>
            </a:fld>
            <a:endParaRPr lang="fr-FR"/>
          </a:p>
        </p:txBody>
      </p:sp>
      <p:sp>
        <p:nvSpPr>
          <p:cNvPr id="13" name="Espace réservé du texte 12">
            <a:extLst>
              <a:ext uri="{FF2B5EF4-FFF2-40B4-BE49-F238E27FC236}">
                <a16:creationId xmlns:a16="http://schemas.microsoft.com/office/drawing/2014/main" id="{994F548F-A399-4411-B9BF-BDBAA7AE4B55}"/>
              </a:ext>
            </a:extLst>
          </p:cNvPr>
          <p:cNvSpPr>
            <a:spLocks noGrp="1"/>
          </p:cNvSpPr>
          <p:nvPr>
            <p:ph type="body" sz="quarter" idx="12" hasCustomPrompt="1"/>
          </p:nvPr>
        </p:nvSpPr>
        <p:spPr>
          <a:xfrm>
            <a:off x="839788" y="1008001"/>
            <a:ext cx="10440987" cy="4999100"/>
          </a:xfrm>
        </p:spPr>
        <p:txBody>
          <a:bodyPr/>
          <a:lstStyle>
            <a:lvl1pPr>
              <a:defRPr/>
            </a:lvl1pPr>
            <a:lvl2pPr>
              <a:defRPr/>
            </a:lvl2pPr>
            <a:lvl3pPr>
              <a:defRPr/>
            </a:lvl3pPr>
            <a:lvl4pPr>
              <a:defRPr/>
            </a:lvl4pPr>
          </a:lstStyle>
          <a:p>
            <a:pPr lvl="0"/>
            <a:r>
              <a:rPr lang="fr-FR"/>
              <a:t>Subtitle (first level)</a:t>
            </a:r>
          </a:p>
          <a:p>
            <a:pPr lvl="1"/>
            <a:r>
              <a:rPr lang="fr-FR"/>
              <a:t>Rubric (second level)</a:t>
            </a:r>
          </a:p>
          <a:p>
            <a:pPr lvl="2"/>
            <a:r>
              <a:rPr lang="fr-FR"/>
              <a:t>Item (third level)</a:t>
            </a:r>
          </a:p>
          <a:p>
            <a:pPr lvl="3"/>
            <a:r>
              <a:rPr lang="fr-FR"/>
              <a:t>Content (fourth level)</a:t>
            </a:r>
          </a:p>
        </p:txBody>
      </p:sp>
    </p:spTree>
    <p:extLst>
      <p:ext uri="{BB962C8B-B14F-4D97-AF65-F5344CB8AC3E}">
        <p14:creationId xmlns:p14="http://schemas.microsoft.com/office/powerpoint/2010/main" val="19418894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60D8EFD0-DD87-44F2-90BC-CD4BF9ED5B24}"/>
              </a:ext>
            </a:extLst>
          </p:cNvPr>
          <p:cNvSpPr>
            <a:spLocks noGrp="1"/>
          </p:cNvSpPr>
          <p:nvPr>
            <p:ph type="ftr" sz="quarter" idx="16"/>
          </p:nvPr>
        </p:nvSpPr>
        <p:spPr/>
        <p:txBody>
          <a:bodyPr/>
          <a:lstStyle/>
          <a:p>
            <a:r>
              <a:rPr lang="fr-FR" cap="none">
                <a:solidFill>
                  <a:schemeClr val="tx2"/>
                </a:solidFill>
              </a:rPr>
              <a:t>Ut id mauris dapibus, semper eros ac, porttitor mauris </a:t>
            </a:r>
            <a:r>
              <a:rPr lang="fr-FR" cap="none">
                <a:solidFill>
                  <a:schemeClr val="tx1"/>
                </a:solidFill>
              </a:rPr>
              <a:t>sujet de la présentation – V°001 | 27 juillet 2018</a:t>
            </a:r>
            <a:endParaRPr lang="fr-FR" cap="none" dirty="0">
              <a:solidFill>
                <a:schemeClr val="tx1"/>
              </a:solidFill>
            </a:endParaRPr>
          </a:p>
        </p:txBody>
      </p:sp>
      <p:sp>
        <p:nvSpPr>
          <p:cNvPr id="5" name="Espace réservé du numéro de diapositive 4">
            <a:extLst>
              <a:ext uri="{FF2B5EF4-FFF2-40B4-BE49-F238E27FC236}">
                <a16:creationId xmlns:a16="http://schemas.microsoft.com/office/drawing/2014/main" id="{F318DA38-E683-43E9-9656-D018CD605BE7}"/>
              </a:ext>
            </a:extLst>
          </p:cNvPr>
          <p:cNvSpPr>
            <a:spLocks noGrp="1"/>
          </p:cNvSpPr>
          <p:nvPr>
            <p:ph type="sldNum" sz="quarter" idx="17"/>
          </p:nvPr>
        </p:nvSpPr>
        <p:spPr/>
        <p:txBody>
          <a:bodyPr/>
          <a:lstStyle/>
          <a:p>
            <a:fld id="{16F61B19-5FB1-451F-938F-D0B1FAC2BDF6}" type="slidenum">
              <a:rPr lang="fr-FR" smtClean="0"/>
              <a:pPr/>
              <a:t>‹#›</a:t>
            </a:fld>
            <a:endParaRPr lang="fr-FR"/>
          </a:p>
        </p:txBody>
      </p:sp>
      <p:sp>
        <p:nvSpPr>
          <p:cNvPr id="6" name="Titre 5">
            <a:extLst>
              <a:ext uri="{FF2B5EF4-FFF2-40B4-BE49-F238E27FC236}">
                <a16:creationId xmlns:a16="http://schemas.microsoft.com/office/drawing/2014/main" id="{23838D32-DB5F-4C30-889C-A8AF798411EE}"/>
              </a:ext>
            </a:extLst>
          </p:cNvPr>
          <p:cNvSpPr>
            <a:spLocks noGrp="1"/>
          </p:cNvSpPr>
          <p:nvPr>
            <p:ph type="title" hasCustomPrompt="1"/>
          </p:nvPr>
        </p:nvSpPr>
        <p:spPr/>
        <p:txBody>
          <a:bodyPr/>
          <a:lstStyle>
            <a:lvl1pPr>
              <a:defRPr/>
            </a:lvl1pPr>
          </a:lstStyle>
          <a:p>
            <a:r>
              <a:rPr lang="fr-FR"/>
              <a:t>Title chapter</a:t>
            </a:r>
          </a:p>
        </p:txBody>
      </p:sp>
      <p:sp>
        <p:nvSpPr>
          <p:cNvPr id="11" name="Espace réservé du texte 12">
            <a:extLst>
              <a:ext uri="{FF2B5EF4-FFF2-40B4-BE49-F238E27FC236}">
                <a16:creationId xmlns:a16="http://schemas.microsoft.com/office/drawing/2014/main" id="{7E97DC95-4825-4BC7-8F7E-A0A42A2EB3D4}"/>
              </a:ext>
            </a:extLst>
          </p:cNvPr>
          <p:cNvSpPr>
            <a:spLocks noGrp="1"/>
          </p:cNvSpPr>
          <p:nvPr>
            <p:ph type="body" sz="quarter" idx="12" hasCustomPrompt="1"/>
          </p:nvPr>
        </p:nvSpPr>
        <p:spPr>
          <a:xfrm>
            <a:off x="839788" y="1008001"/>
            <a:ext cx="5038499" cy="4999100"/>
          </a:xfrm>
        </p:spPr>
        <p:txBody>
          <a:bodyPr/>
          <a:lstStyle>
            <a:lvl1pPr>
              <a:defRPr/>
            </a:lvl1pPr>
            <a:lvl2pPr>
              <a:defRPr/>
            </a:lvl2pPr>
            <a:lvl3pPr>
              <a:defRPr/>
            </a:lvl3pPr>
            <a:lvl4pPr>
              <a:defRPr/>
            </a:lvl4pPr>
          </a:lstStyle>
          <a:p>
            <a:pPr lvl="0"/>
            <a:r>
              <a:rPr lang="fr-FR"/>
              <a:t>Subtitle (first level)</a:t>
            </a:r>
          </a:p>
          <a:p>
            <a:pPr lvl="1"/>
            <a:r>
              <a:rPr lang="fr-FR"/>
              <a:t>Rubric (second level)</a:t>
            </a:r>
          </a:p>
          <a:p>
            <a:pPr lvl="2"/>
            <a:r>
              <a:rPr lang="fr-FR"/>
              <a:t>Item (third level)</a:t>
            </a:r>
          </a:p>
          <a:p>
            <a:pPr lvl="3"/>
            <a:r>
              <a:rPr lang="fr-FR"/>
              <a:t>Content (fourth level)</a:t>
            </a:r>
          </a:p>
        </p:txBody>
      </p:sp>
      <p:sp>
        <p:nvSpPr>
          <p:cNvPr id="12" name="Espace réservé du texte 12">
            <a:extLst>
              <a:ext uri="{FF2B5EF4-FFF2-40B4-BE49-F238E27FC236}">
                <a16:creationId xmlns:a16="http://schemas.microsoft.com/office/drawing/2014/main" id="{631EC02B-AB0F-4954-BAD0-F8CEFFFE3E8E}"/>
              </a:ext>
            </a:extLst>
          </p:cNvPr>
          <p:cNvSpPr>
            <a:spLocks noGrp="1"/>
          </p:cNvSpPr>
          <p:nvPr>
            <p:ph type="body" sz="quarter" idx="18" hasCustomPrompt="1"/>
          </p:nvPr>
        </p:nvSpPr>
        <p:spPr>
          <a:xfrm>
            <a:off x="6242277" y="1008001"/>
            <a:ext cx="5038499" cy="4999100"/>
          </a:xfrm>
        </p:spPr>
        <p:txBody>
          <a:bodyPr/>
          <a:lstStyle>
            <a:lvl1pPr>
              <a:defRPr/>
            </a:lvl1pPr>
            <a:lvl2pPr>
              <a:defRPr/>
            </a:lvl2pPr>
            <a:lvl3pPr>
              <a:defRPr/>
            </a:lvl3pPr>
            <a:lvl4pPr>
              <a:defRPr/>
            </a:lvl4pPr>
          </a:lstStyle>
          <a:p>
            <a:pPr lvl="0"/>
            <a:r>
              <a:rPr lang="fr-FR"/>
              <a:t>Subtitle (first level)</a:t>
            </a:r>
          </a:p>
          <a:p>
            <a:pPr lvl="1"/>
            <a:r>
              <a:rPr lang="fr-FR"/>
              <a:t>Rubric (second level)</a:t>
            </a:r>
          </a:p>
          <a:p>
            <a:pPr lvl="2"/>
            <a:r>
              <a:rPr lang="fr-FR"/>
              <a:t>Item (third level)</a:t>
            </a:r>
          </a:p>
          <a:p>
            <a:pPr lvl="3"/>
            <a:r>
              <a:rPr lang="fr-FR"/>
              <a:t>Content (fourth level)</a:t>
            </a:r>
          </a:p>
        </p:txBody>
      </p:sp>
    </p:spTree>
    <p:extLst>
      <p:ext uri="{BB962C8B-B14F-4D97-AF65-F5344CB8AC3E}">
        <p14:creationId xmlns:p14="http://schemas.microsoft.com/office/powerpoint/2010/main" val="64777658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cSld name="Sommaire Bleu">
    <p:bg>
      <p:bgPr>
        <a:solidFill>
          <a:schemeClr val="tx1"/>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bg1"/>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Tree>
    <p:extLst>
      <p:ext uri="{BB962C8B-B14F-4D97-AF65-F5344CB8AC3E}">
        <p14:creationId xmlns:p14="http://schemas.microsoft.com/office/powerpoint/2010/main" val="17214673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16" name="Espace réservé du texte 5">
            <a:extLst>
              <a:ext uri="{FF2B5EF4-FFF2-40B4-BE49-F238E27FC236}">
                <a16:creationId xmlns:a16="http://schemas.microsoft.com/office/drawing/2014/main" id="{A988C761-4C7D-423A-B1FF-7DBEE783B938}"/>
              </a:ext>
            </a:extLst>
          </p:cNvPr>
          <p:cNvSpPr>
            <a:spLocks noGrp="1"/>
          </p:cNvSpPr>
          <p:nvPr>
            <p:ph type="body" sz="quarter" idx="12" hasCustomPrompt="1"/>
          </p:nvPr>
        </p:nvSpPr>
        <p:spPr>
          <a:xfrm>
            <a:off x="839789" y="978414"/>
            <a:ext cx="10440987" cy="485268"/>
          </a:xfrm>
          <a:prstGeom prst="rect">
            <a:avLst/>
          </a:prstGeom>
        </p:spPr>
        <p:txBody>
          <a:bodyPr anchor="ctr"/>
          <a:lstStyle>
            <a:lvl1pPr marL="0" indent="0" algn="l" defTabSz="914377" rtl="0" eaLnBrk="1" latinLnBrk="0" hangingPunct="1">
              <a:lnSpc>
                <a:spcPct val="90000"/>
              </a:lnSpc>
              <a:spcBef>
                <a:spcPct val="0"/>
              </a:spcBef>
              <a:buFontTx/>
              <a:buNone/>
              <a:defRPr lang="fr-FR" sz="2800" b="1" kern="1200" cap="none" spc="0" baseline="0" dirty="0">
                <a:solidFill>
                  <a:schemeClr val="tx1"/>
                </a:solidFill>
                <a:latin typeface="Arial" panose="020B0604020202020204" pitchFamily="34" charset="0"/>
                <a:ea typeface="Arial" charset="0"/>
                <a:cs typeface="Arial" panose="020B0604020202020204" pitchFamily="34" charset="0"/>
              </a:defRPr>
            </a:lvl1pPr>
          </a:lstStyle>
          <a:p>
            <a:pPr lvl="0"/>
            <a:r>
              <a:rPr lang="fr-FR" sz="2800" dirty="0">
                <a:solidFill>
                  <a:schemeClr val="tx1"/>
                </a:solidFill>
                <a:latin typeface="Arial" panose="020B0604020202020204" pitchFamily="34" charset="0"/>
                <a:cs typeface="Arial" panose="020B0604020202020204" pitchFamily="34" charset="0"/>
              </a:rPr>
              <a:t>1.1 </a:t>
            </a:r>
            <a:r>
              <a:rPr lang="fr-FR" dirty="0" err="1"/>
              <a:t>Subtitle</a:t>
            </a:r>
            <a:r>
              <a:rPr lang="fr-FR" dirty="0"/>
              <a:t> (1 line)</a:t>
            </a:r>
          </a:p>
        </p:txBody>
      </p:sp>
      <p:sp>
        <p:nvSpPr>
          <p:cNvPr id="2" name="Espace réservé du pied de page 1">
            <a:extLst>
              <a:ext uri="{FF2B5EF4-FFF2-40B4-BE49-F238E27FC236}">
                <a16:creationId xmlns:a16="http://schemas.microsoft.com/office/drawing/2014/main" id="{B3966CBE-AEA8-4050-8067-1B4E5EE195CF}"/>
              </a:ext>
            </a:extLst>
          </p:cNvPr>
          <p:cNvSpPr>
            <a:spLocks noGrp="1"/>
          </p:cNvSpPr>
          <p:nvPr>
            <p:ph type="ftr" sz="quarter" idx="13"/>
          </p:nvPr>
        </p:nvSpPr>
        <p:spPr/>
        <p:txBody>
          <a:bodyPr/>
          <a:lstStyle/>
          <a:p>
            <a:r>
              <a:rPr lang="fr-FR" cap="none">
                <a:solidFill>
                  <a:schemeClr val="tx2"/>
                </a:solidFill>
              </a:rPr>
              <a:t>Ut id mauris dapibus, semper eros ac, porttitor mauris </a:t>
            </a:r>
            <a:r>
              <a:rPr lang="fr-FR" cap="none">
                <a:solidFill>
                  <a:schemeClr val="tx1"/>
                </a:solidFill>
              </a:rPr>
              <a:t>sujet de la présentation – V°001 | 27 juillet 2018</a:t>
            </a:r>
            <a:endParaRPr lang="fr-FR" cap="none" dirty="0">
              <a:solidFill>
                <a:schemeClr val="tx1"/>
              </a:solidFill>
            </a:endParaRPr>
          </a:p>
        </p:txBody>
      </p:sp>
      <p:sp>
        <p:nvSpPr>
          <p:cNvPr id="3" name="Espace réservé du numéro de diapositive 2">
            <a:extLst>
              <a:ext uri="{FF2B5EF4-FFF2-40B4-BE49-F238E27FC236}">
                <a16:creationId xmlns:a16="http://schemas.microsoft.com/office/drawing/2014/main" id="{B1922039-7D6E-4924-99A6-A50FE142D698}"/>
              </a:ext>
            </a:extLst>
          </p:cNvPr>
          <p:cNvSpPr>
            <a:spLocks noGrp="1"/>
          </p:cNvSpPr>
          <p:nvPr>
            <p:ph type="sldNum" sz="quarter" idx="14"/>
          </p:nvPr>
        </p:nvSpPr>
        <p:spPr/>
        <p:txBody>
          <a:bodyPr/>
          <a:lstStyle/>
          <a:p>
            <a:fld id="{16F61B19-5FB1-451F-938F-D0B1FAC2BDF6}" type="slidenum">
              <a:rPr lang="fr-FR" smtClean="0"/>
              <a:pPr/>
              <a:t>‹#›</a:t>
            </a:fld>
            <a:endParaRPr lang="fr-FR"/>
          </a:p>
        </p:txBody>
      </p:sp>
      <p:sp>
        <p:nvSpPr>
          <p:cNvPr id="4" name="Titre 3">
            <a:extLst>
              <a:ext uri="{FF2B5EF4-FFF2-40B4-BE49-F238E27FC236}">
                <a16:creationId xmlns:a16="http://schemas.microsoft.com/office/drawing/2014/main" id="{ACA7F79B-9CCA-41EF-842A-BD81A920C85E}"/>
              </a:ext>
            </a:extLst>
          </p:cNvPr>
          <p:cNvSpPr>
            <a:spLocks noGrp="1"/>
          </p:cNvSpPr>
          <p:nvPr>
            <p:ph type="title" hasCustomPrompt="1"/>
          </p:nvPr>
        </p:nvSpPr>
        <p:spPr/>
        <p:txBody>
          <a:bodyPr/>
          <a:lstStyle>
            <a:lvl1pPr>
              <a:defRPr/>
            </a:lvl1pPr>
          </a:lstStyle>
          <a:p>
            <a:r>
              <a:rPr lang="fr-FR"/>
              <a:t>Title chapter</a:t>
            </a:r>
          </a:p>
        </p:txBody>
      </p:sp>
      <p:sp>
        <p:nvSpPr>
          <p:cNvPr id="6" name="Espace réservé du texte 5">
            <a:extLst>
              <a:ext uri="{FF2B5EF4-FFF2-40B4-BE49-F238E27FC236}">
                <a16:creationId xmlns:a16="http://schemas.microsoft.com/office/drawing/2014/main" id="{B6A90E34-218B-44F8-B3EE-12D9E53297FE}"/>
              </a:ext>
            </a:extLst>
          </p:cNvPr>
          <p:cNvSpPr>
            <a:spLocks noGrp="1"/>
          </p:cNvSpPr>
          <p:nvPr>
            <p:ph type="body" sz="quarter" idx="15" hasCustomPrompt="1"/>
          </p:nvPr>
        </p:nvSpPr>
        <p:spPr>
          <a:xfrm>
            <a:off x="1511301" y="1864859"/>
            <a:ext cx="9769475" cy="2774183"/>
          </a:xfrm>
        </p:spPr>
        <p:txBody>
          <a:bodyPr/>
          <a:lstStyle>
            <a:lvl1pPr marL="0" indent="0">
              <a:lnSpc>
                <a:spcPct val="150000"/>
              </a:lnSpc>
              <a:buFont typeface="Arial" panose="020B0604020202020204" pitchFamily="34" charset="0"/>
              <a:buNone/>
              <a:defRPr sz="2000" b="0"/>
            </a:lvl1pPr>
          </a:lstStyle>
          <a:p>
            <a:pPr lvl="0"/>
            <a:r>
              <a:rPr lang="fr-FR"/>
              <a:t>Text</a:t>
            </a:r>
          </a:p>
        </p:txBody>
      </p:sp>
    </p:spTree>
    <p:extLst>
      <p:ext uri="{BB962C8B-B14F-4D97-AF65-F5344CB8AC3E}">
        <p14:creationId xmlns:p14="http://schemas.microsoft.com/office/powerpoint/2010/main" val="34420003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eft image">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27140DB9-FE55-48AF-9A04-12DB92D7CDC4}"/>
              </a:ext>
            </a:extLst>
          </p:cNvPr>
          <p:cNvSpPr>
            <a:spLocks noGrp="1" noChangeAspect="1"/>
          </p:cNvSpPr>
          <p:nvPr>
            <p:ph type="pic" sz="quarter" idx="14" hasCustomPrompt="1"/>
          </p:nvPr>
        </p:nvSpPr>
        <p:spPr>
          <a:xfrm>
            <a:off x="3" y="0"/>
            <a:ext cx="5268459" cy="6858000"/>
          </a:xfrm>
          <a:prstGeom prst="rect">
            <a:avLst/>
          </a:prstGeom>
        </p:spPr>
        <p:txBody>
          <a:bodyPr tIns="2304000" anchor="t" anchorCtr="0">
            <a:noAutofit/>
          </a:bodyPr>
          <a:lstStyle>
            <a:lvl1pPr marL="0" indent="0" algn="ctr">
              <a:buNone/>
              <a:defRPr>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on the icon below </a:t>
            </a:r>
          </a:p>
          <a:p>
            <a:r>
              <a:rPr lang="en-US" dirty="0"/>
              <a:t>to insert an image</a:t>
            </a:r>
            <a:endParaRPr lang="fr-FR" dirty="0"/>
          </a:p>
        </p:txBody>
      </p:sp>
      <p:sp>
        <p:nvSpPr>
          <p:cNvPr id="12"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5623485" y="1398521"/>
            <a:ext cx="5657291" cy="1495795"/>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err="1"/>
              <a:t>Title</a:t>
            </a:r>
            <a:r>
              <a:rPr lang="fr-FR" dirty="0"/>
              <a:t> (3 </a:t>
            </a:r>
            <a:r>
              <a:rPr lang="fr-FR" dirty="0" err="1"/>
              <a:t>lines</a:t>
            </a:r>
            <a:r>
              <a:rPr lang="fr-FR" dirty="0"/>
              <a:t> max)</a:t>
            </a:r>
          </a:p>
        </p:txBody>
      </p:sp>
      <p:sp>
        <p:nvSpPr>
          <p:cNvPr id="13" name="Espace réservé du texte 5">
            <a:extLst>
              <a:ext uri="{FF2B5EF4-FFF2-40B4-BE49-F238E27FC236}">
                <a16:creationId xmlns:a16="http://schemas.microsoft.com/office/drawing/2014/main" id="{CF16E1CB-4175-4B50-B70E-76C58215F7A4}"/>
              </a:ext>
            </a:extLst>
          </p:cNvPr>
          <p:cNvSpPr>
            <a:spLocks noGrp="1"/>
          </p:cNvSpPr>
          <p:nvPr>
            <p:ph type="body" sz="quarter" idx="12" hasCustomPrompt="1"/>
          </p:nvPr>
        </p:nvSpPr>
        <p:spPr>
          <a:xfrm>
            <a:off x="5636737" y="3083214"/>
            <a:ext cx="5657291" cy="387799"/>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err="1"/>
              <a:t>Subtitle</a:t>
            </a:r>
            <a:r>
              <a:rPr lang="fr-FR" dirty="0"/>
              <a:t> (1 line)</a:t>
            </a:r>
          </a:p>
        </p:txBody>
      </p:sp>
      <p:sp>
        <p:nvSpPr>
          <p:cNvPr id="3" name="Espace réservé du texte 2">
            <a:extLst>
              <a:ext uri="{FF2B5EF4-FFF2-40B4-BE49-F238E27FC236}">
                <a16:creationId xmlns:a16="http://schemas.microsoft.com/office/drawing/2014/main" id="{34704A89-865E-40EA-BCD5-78C5D720B1CD}"/>
              </a:ext>
            </a:extLst>
          </p:cNvPr>
          <p:cNvSpPr>
            <a:spLocks noGrp="1"/>
          </p:cNvSpPr>
          <p:nvPr>
            <p:ph type="body" sz="quarter" idx="15" hasCustomPrompt="1"/>
          </p:nvPr>
        </p:nvSpPr>
        <p:spPr>
          <a:xfrm>
            <a:off x="5622925" y="3710215"/>
            <a:ext cx="5657851" cy="1809751"/>
          </a:xfrm>
        </p:spPr>
        <p:txBody>
          <a:bodyPr/>
          <a:lstStyle>
            <a:lvl1pPr marL="0" indent="0">
              <a:lnSpc>
                <a:spcPct val="150000"/>
              </a:lnSpc>
              <a:spcBef>
                <a:spcPts val="0"/>
              </a:spcBef>
              <a:buNone/>
              <a:defRPr sz="2000" b="0">
                <a:solidFill>
                  <a:schemeClr val="tx2"/>
                </a:solidFill>
              </a:defRPr>
            </a:lvl1pPr>
          </a:lstStyle>
          <a:p>
            <a:pPr lvl="0"/>
            <a:r>
              <a:rPr lang="fr-FR"/>
              <a:t>Complementary text</a:t>
            </a:r>
          </a:p>
        </p:txBody>
      </p:sp>
      <p:sp>
        <p:nvSpPr>
          <p:cNvPr id="5" name="Espace réservé du numéro de diapositive 4">
            <a:extLst>
              <a:ext uri="{FF2B5EF4-FFF2-40B4-BE49-F238E27FC236}">
                <a16:creationId xmlns:a16="http://schemas.microsoft.com/office/drawing/2014/main" id="{D40CC3A4-C275-45F8-AB86-82A4A9B43C29}"/>
              </a:ext>
            </a:extLst>
          </p:cNvPr>
          <p:cNvSpPr>
            <a:spLocks noGrp="1"/>
          </p:cNvSpPr>
          <p:nvPr>
            <p:ph type="sldNum" sz="quarter" idx="17"/>
          </p:nvPr>
        </p:nvSpPr>
        <p:spPr/>
        <p:txBody>
          <a:bodyPr/>
          <a:lstStyle/>
          <a:p>
            <a:fld id="{16F61B19-5FB1-451F-938F-D0B1FAC2BDF6}" type="slidenum">
              <a:rPr lang="fr-FR" smtClean="0"/>
              <a:pPr/>
              <a:t>‹#›</a:t>
            </a:fld>
            <a:endParaRPr lang="fr-FR"/>
          </a:p>
        </p:txBody>
      </p:sp>
    </p:spTree>
    <p:extLst>
      <p:ext uri="{BB962C8B-B14F-4D97-AF65-F5344CB8AC3E}">
        <p14:creationId xmlns:p14="http://schemas.microsoft.com/office/powerpoint/2010/main" val="16686523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with banner">
    <p:spTree>
      <p:nvGrpSpPr>
        <p:cNvPr id="1" name=""/>
        <p:cNvGrpSpPr/>
        <p:nvPr/>
      </p:nvGrpSpPr>
      <p:grpSpPr>
        <a:xfrm>
          <a:off x="0" y="0"/>
          <a:ext cx="0" cy="0"/>
          <a:chOff x="0" y="0"/>
          <a:chExt cx="0" cy="0"/>
        </a:xfrm>
      </p:grpSpPr>
      <p:sp>
        <p:nvSpPr>
          <p:cNvPr id="11" name="Rectangle 10"/>
          <p:cNvSpPr/>
          <p:nvPr userDrawn="1"/>
        </p:nvSpPr>
        <p:spPr>
          <a:xfrm>
            <a:off x="0" y="0"/>
            <a:ext cx="500358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sz="1351">
              <a:latin typeface="Arial" panose="020B0604020202020204" pitchFamily="34" charset="0"/>
              <a:cs typeface="Arial" panose="020B0604020202020204" pitchFamily="34" charset="0"/>
            </a:endParaRPr>
          </a:p>
        </p:txBody>
      </p:sp>
      <p:sp>
        <p:nvSpPr>
          <p:cNvPr id="9" name="Titre 1">
            <a:extLst>
              <a:ext uri="{FF2B5EF4-FFF2-40B4-BE49-F238E27FC236}">
                <a16:creationId xmlns:a16="http://schemas.microsoft.com/office/drawing/2014/main" id="{C65CEB71-67FA-4CB0-A711-830E59EF6DF6}"/>
              </a:ext>
            </a:extLst>
          </p:cNvPr>
          <p:cNvSpPr>
            <a:spLocks noGrp="1"/>
          </p:cNvSpPr>
          <p:nvPr>
            <p:ph type="ctrTitle" hasCustomPrompt="1"/>
          </p:nvPr>
        </p:nvSpPr>
        <p:spPr>
          <a:xfrm>
            <a:off x="5623485" y="1398521"/>
            <a:ext cx="5657291" cy="1495795"/>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err="1"/>
              <a:t>Title</a:t>
            </a:r>
            <a:r>
              <a:rPr lang="fr-FR" dirty="0"/>
              <a:t> (3 </a:t>
            </a:r>
            <a:r>
              <a:rPr lang="fr-FR" dirty="0" err="1"/>
              <a:t>lines</a:t>
            </a:r>
            <a:r>
              <a:rPr lang="fr-FR" dirty="0"/>
              <a:t> max)</a:t>
            </a:r>
          </a:p>
        </p:txBody>
      </p:sp>
      <p:sp>
        <p:nvSpPr>
          <p:cNvPr id="12" name="Espace réservé du texte 5">
            <a:extLst>
              <a:ext uri="{FF2B5EF4-FFF2-40B4-BE49-F238E27FC236}">
                <a16:creationId xmlns:a16="http://schemas.microsoft.com/office/drawing/2014/main" id="{253B6C33-2004-4164-B71D-7583D7F2608B}"/>
              </a:ext>
            </a:extLst>
          </p:cNvPr>
          <p:cNvSpPr>
            <a:spLocks noGrp="1"/>
          </p:cNvSpPr>
          <p:nvPr>
            <p:ph type="body" sz="quarter" idx="12" hasCustomPrompt="1"/>
          </p:nvPr>
        </p:nvSpPr>
        <p:spPr>
          <a:xfrm>
            <a:off x="5636737" y="3083214"/>
            <a:ext cx="5657291" cy="387799"/>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err="1"/>
              <a:t>Subtitle</a:t>
            </a:r>
            <a:r>
              <a:rPr lang="fr-FR" dirty="0"/>
              <a:t> (1 line)</a:t>
            </a:r>
          </a:p>
        </p:txBody>
      </p:sp>
      <p:sp>
        <p:nvSpPr>
          <p:cNvPr id="13" name="Espace réservé du texte 2">
            <a:extLst>
              <a:ext uri="{FF2B5EF4-FFF2-40B4-BE49-F238E27FC236}">
                <a16:creationId xmlns:a16="http://schemas.microsoft.com/office/drawing/2014/main" id="{FDDFB51C-DE4B-4E76-AF33-D99C9DCC511D}"/>
              </a:ext>
            </a:extLst>
          </p:cNvPr>
          <p:cNvSpPr>
            <a:spLocks noGrp="1"/>
          </p:cNvSpPr>
          <p:nvPr>
            <p:ph type="body" sz="quarter" idx="15" hasCustomPrompt="1"/>
          </p:nvPr>
        </p:nvSpPr>
        <p:spPr>
          <a:xfrm>
            <a:off x="5622925" y="3710215"/>
            <a:ext cx="5657851" cy="1809751"/>
          </a:xfrm>
        </p:spPr>
        <p:txBody>
          <a:bodyPr/>
          <a:lstStyle>
            <a:lvl1pPr marL="0" indent="0">
              <a:lnSpc>
                <a:spcPct val="150000"/>
              </a:lnSpc>
              <a:spcBef>
                <a:spcPts val="0"/>
              </a:spcBef>
              <a:buNone/>
              <a:defRPr sz="2000" b="0">
                <a:solidFill>
                  <a:schemeClr val="tx2"/>
                </a:solidFill>
              </a:defRPr>
            </a:lvl1pPr>
          </a:lstStyle>
          <a:p>
            <a:pPr lvl="0"/>
            <a:r>
              <a:rPr lang="fr-FR"/>
              <a:t>Complementary text</a:t>
            </a:r>
          </a:p>
        </p:txBody>
      </p:sp>
      <p:sp>
        <p:nvSpPr>
          <p:cNvPr id="14" name="Espace réservé du numéro de diapositive 4">
            <a:extLst>
              <a:ext uri="{FF2B5EF4-FFF2-40B4-BE49-F238E27FC236}">
                <a16:creationId xmlns:a16="http://schemas.microsoft.com/office/drawing/2014/main" id="{4851EEEE-251B-465C-9A44-B3EC2ADCE209}"/>
              </a:ext>
            </a:extLst>
          </p:cNvPr>
          <p:cNvSpPr>
            <a:spLocks noGrp="1"/>
          </p:cNvSpPr>
          <p:nvPr>
            <p:ph type="sldNum" sz="quarter" idx="17"/>
          </p:nvPr>
        </p:nvSpPr>
        <p:spPr>
          <a:xfrm>
            <a:off x="10620375" y="6390937"/>
            <a:ext cx="660400" cy="184667"/>
          </a:xfrm>
        </p:spPr>
        <p:txBody>
          <a:bodyPr/>
          <a:lstStyle/>
          <a:p>
            <a:fld id="{16F61B19-5FB1-451F-938F-D0B1FAC2BDF6}" type="slidenum">
              <a:rPr lang="fr-FR" smtClean="0"/>
              <a:pPr/>
              <a:t>‹#›</a:t>
            </a:fld>
            <a:endParaRPr lang="fr-FR"/>
          </a:p>
        </p:txBody>
      </p:sp>
    </p:spTree>
    <p:extLst>
      <p:ext uri="{BB962C8B-B14F-4D97-AF65-F5344CB8AC3E}">
        <p14:creationId xmlns:p14="http://schemas.microsoft.com/office/powerpoint/2010/main" val="9047755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out title">
    <p:spTree>
      <p:nvGrpSpPr>
        <p:cNvPr id="1" name=""/>
        <p:cNvGrpSpPr/>
        <p:nvPr/>
      </p:nvGrpSpPr>
      <p:grpSpPr>
        <a:xfrm>
          <a:off x="0" y="0"/>
          <a:ext cx="0" cy="0"/>
          <a:chOff x="0" y="0"/>
          <a:chExt cx="0" cy="0"/>
        </a:xfrm>
      </p:grpSpPr>
      <p:sp>
        <p:nvSpPr>
          <p:cNvPr id="4" name="Espace réservé du contenu 9">
            <a:extLst>
              <a:ext uri="{FF2B5EF4-FFF2-40B4-BE49-F238E27FC236}">
                <a16:creationId xmlns:a16="http://schemas.microsoft.com/office/drawing/2014/main" id="{CF8E1BD4-2E9A-4788-88E6-0120D51CBCE0}"/>
              </a:ext>
            </a:extLst>
          </p:cNvPr>
          <p:cNvSpPr>
            <a:spLocks noGrp="1"/>
          </p:cNvSpPr>
          <p:nvPr>
            <p:ph sz="quarter" idx="13" hasCustomPrompt="1"/>
          </p:nvPr>
        </p:nvSpPr>
        <p:spPr>
          <a:xfrm>
            <a:off x="838200" y="1022400"/>
            <a:ext cx="10442576" cy="4996069"/>
          </a:xfrm>
          <a:prstGeom prst="rect">
            <a:avLst/>
          </a:prstGeom>
        </p:spPr>
        <p:txBody>
          <a:bodyPr/>
          <a:lstStyle>
            <a:lvl1pPr marL="0" indent="0">
              <a:buNone/>
              <a:defRPr sz="440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ree text or untitled graphic element (click on the icon below)</a:t>
            </a:r>
            <a:endParaRPr lang="fr-FR" dirty="0"/>
          </a:p>
        </p:txBody>
      </p:sp>
      <p:sp>
        <p:nvSpPr>
          <p:cNvPr id="2" name="Espace réservé du pied de page 1">
            <a:extLst>
              <a:ext uri="{FF2B5EF4-FFF2-40B4-BE49-F238E27FC236}">
                <a16:creationId xmlns:a16="http://schemas.microsoft.com/office/drawing/2014/main" id="{CE5B653E-BC7D-489F-B3CE-58D9EB676DA1}"/>
              </a:ext>
            </a:extLst>
          </p:cNvPr>
          <p:cNvSpPr>
            <a:spLocks noGrp="1"/>
          </p:cNvSpPr>
          <p:nvPr>
            <p:ph type="ftr" sz="quarter" idx="14"/>
          </p:nvPr>
        </p:nvSpPr>
        <p:spPr/>
        <p:txBody>
          <a:bodyPr/>
          <a:lstStyle/>
          <a:p>
            <a:r>
              <a:rPr lang="fr-FR" cap="none">
                <a:solidFill>
                  <a:schemeClr val="tx2"/>
                </a:solidFill>
              </a:rPr>
              <a:t>Ut id mauris dapibus, semper eros ac, porttitor mauris </a:t>
            </a:r>
            <a:r>
              <a:rPr lang="fr-FR" cap="none">
                <a:solidFill>
                  <a:schemeClr val="tx1"/>
                </a:solidFill>
              </a:rPr>
              <a:t>sujet de la présentation – V°001 | 27 juillet 2018</a:t>
            </a:r>
            <a:endParaRPr lang="fr-FR" cap="none" dirty="0">
              <a:solidFill>
                <a:schemeClr val="tx1"/>
              </a:solidFill>
            </a:endParaRPr>
          </a:p>
        </p:txBody>
      </p:sp>
      <p:sp>
        <p:nvSpPr>
          <p:cNvPr id="3" name="Espace réservé du numéro de diapositive 2">
            <a:extLst>
              <a:ext uri="{FF2B5EF4-FFF2-40B4-BE49-F238E27FC236}">
                <a16:creationId xmlns:a16="http://schemas.microsoft.com/office/drawing/2014/main" id="{A9A731D0-C3E7-45C9-A87A-611FBCF3688C}"/>
              </a:ext>
            </a:extLst>
          </p:cNvPr>
          <p:cNvSpPr>
            <a:spLocks noGrp="1"/>
          </p:cNvSpPr>
          <p:nvPr>
            <p:ph type="sldNum" sz="quarter" idx="15"/>
          </p:nvPr>
        </p:nvSpPr>
        <p:spPr/>
        <p:txBody>
          <a:bodyPr/>
          <a:lstStyle/>
          <a:p>
            <a:fld id="{16F61B19-5FB1-451F-938F-D0B1FAC2BDF6}" type="slidenum">
              <a:rPr lang="fr-FR" smtClean="0"/>
              <a:pPr/>
              <a:t>‹#›</a:t>
            </a:fld>
            <a:endParaRPr lang="fr-FR"/>
          </a:p>
        </p:txBody>
      </p:sp>
      <p:sp>
        <p:nvSpPr>
          <p:cNvPr id="5" name="Titre 4">
            <a:extLst>
              <a:ext uri="{FF2B5EF4-FFF2-40B4-BE49-F238E27FC236}">
                <a16:creationId xmlns:a16="http://schemas.microsoft.com/office/drawing/2014/main" id="{B1270394-4B13-4EDC-AA45-B54D916A3CC8}"/>
              </a:ext>
            </a:extLst>
          </p:cNvPr>
          <p:cNvSpPr>
            <a:spLocks noGrp="1"/>
          </p:cNvSpPr>
          <p:nvPr>
            <p:ph type="title" hasCustomPrompt="1"/>
          </p:nvPr>
        </p:nvSpPr>
        <p:spPr/>
        <p:txBody>
          <a:bodyPr/>
          <a:lstStyle>
            <a:lvl1pPr>
              <a:defRPr/>
            </a:lvl1pPr>
          </a:lstStyle>
          <a:p>
            <a:r>
              <a:rPr lang="fr-FR"/>
              <a:t>Title chapter</a:t>
            </a:r>
          </a:p>
        </p:txBody>
      </p:sp>
    </p:spTree>
    <p:extLst>
      <p:ext uri="{BB962C8B-B14F-4D97-AF65-F5344CB8AC3E}">
        <p14:creationId xmlns:p14="http://schemas.microsoft.com/office/powerpoint/2010/main" val="32646563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lon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C0AE5E-871F-4C86-AA72-C460815034C3}"/>
              </a:ext>
            </a:extLst>
          </p:cNvPr>
          <p:cNvSpPr>
            <a:spLocks noGrp="1"/>
          </p:cNvSpPr>
          <p:nvPr>
            <p:ph type="title" hasCustomPrompt="1"/>
          </p:nvPr>
        </p:nvSpPr>
        <p:spPr/>
        <p:txBody>
          <a:bodyPr/>
          <a:lstStyle>
            <a:lvl1pPr>
              <a:defRPr/>
            </a:lvl1pPr>
          </a:lstStyle>
          <a:p>
            <a:r>
              <a:rPr lang="fr-FR"/>
              <a:t>Title chapter</a:t>
            </a:r>
          </a:p>
        </p:txBody>
      </p:sp>
      <p:sp>
        <p:nvSpPr>
          <p:cNvPr id="3" name="Espace réservé du pied de page 2">
            <a:extLst>
              <a:ext uri="{FF2B5EF4-FFF2-40B4-BE49-F238E27FC236}">
                <a16:creationId xmlns:a16="http://schemas.microsoft.com/office/drawing/2014/main" id="{5D7B89DD-B9B2-4C1B-9F0B-588822599809}"/>
              </a:ext>
            </a:extLst>
          </p:cNvPr>
          <p:cNvSpPr>
            <a:spLocks noGrp="1"/>
          </p:cNvSpPr>
          <p:nvPr>
            <p:ph type="ftr" sz="quarter" idx="10"/>
          </p:nvPr>
        </p:nvSpPr>
        <p:spPr/>
        <p:txBody>
          <a:bodyPr/>
          <a:lstStyle/>
          <a:p>
            <a:r>
              <a:rPr lang="fr-FR" cap="none">
                <a:solidFill>
                  <a:schemeClr val="tx2"/>
                </a:solidFill>
              </a:rPr>
              <a:t>Ut id mauris dapibus, semper eros ac, porttitor mauris </a:t>
            </a:r>
            <a:r>
              <a:rPr lang="fr-FR" cap="none">
                <a:solidFill>
                  <a:schemeClr val="tx1"/>
                </a:solidFill>
              </a:rPr>
              <a:t>sujet de la présentation – V°001 | 27 juillet 2018</a:t>
            </a:r>
            <a:endParaRPr lang="fr-FR" cap="none" dirty="0">
              <a:solidFill>
                <a:schemeClr val="tx1"/>
              </a:solidFill>
            </a:endParaRPr>
          </a:p>
        </p:txBody>
      </p:sp>
      <p:sp>
        <p:nvSpPr>
          <p:cNvPr id="4" name="Espace réservé du numéro de diapositive 3">
            <a:extLst>
              <a:ext uri="{FF2B5EF4-FFF2-40B4-BE49-F238E27FC236}">
                <a16:creationId xmlns:a16="http://schemas.microsoft.com/office/drawing/2014/main" id="{9655E634-7523-4740-9664-E11BE6F53CA0}"/>
              </a:ext>
            </a:extLst>
          </p:cNvPr>
          <p:cNvSpPr>
            <a:spLocks noGrp="1"/>
          </p:cNvSpPr>
          <p:nvPr>
            <p:ph type="sldNum" sz="quarter" idx="11"/>
          </p:nvPr>
        </p:nvSpPr>
        <p:spPr/>
        <p:txBody>
          <a:bodyPr/>
          <a:lstStyle/>
          <a:p>
            <a:fld id="{16F61B19-5FB1-451F-938F-D0B1FAC2BDF6}" type="slidenum">
              <a:rPr lang="fr-FR" smtClean="0"/>
              <a:pPr/>
              <a:t>‹#›</a:t>
            </a:fld>
            <a:endParaRPr lang="fr-FR"/>
          </a:p>
        </p:txBody>
      </p:sp>
    </p:spTree>
    <p:extLst>
      <p:ext uri="{BB962C8B-B14F-4D97-AF65-F5344CB8AC3E}">
        <p14:creationId xmlns:p14="http://schemas.microsoft.com/office/powerpoint/2010/main" val="519654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color background">
    <p:bg>
      <p:bgPr>
        <a:solidFill>
          <a:schemeClr val="tx1"/>
        </a:solidFill>
        <a:effectLst/>
      </p:bgPr>
    </p:bg>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EB2C212-1B2B-4335-BA30-6DA98C8CDA34}"/>
              </a:ext>
            </a:extLst>
          </p:cNvPr>
          <p:cNvSpPr>
            <a:spLocks noGrp="1"/>
          </p:cNvSpPr>
          <p:nvPr>
            <p:ph type="body" sz="quarter" idx="10" hasCustomPrompt="1"/>
          </p:nvPr>
        </p:nvSpPr>
        <p:spPr>
          <a:xfrm>
            <a:off x="1477509" y="1001940"/>
            <a:ext cx="9803267" cy="4185761"/>
          </a:xfrm>
        </p:spPr>
        <p:txBody>
          <a:bodyPr/>
          <a:lstStyle>
            <a:lvl1pPr marL="0" indent="0">
              <a:lnSpc>
                <a:spcPct val="100000"/>
              </a:lnSpc>
              <a:spcBef>
                <a:spcPts val="0"/>
              </a:spcBef>
              <a:buNone/>
              <a:defRPr sz="3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Quote text</a:t>
            </a:r>
          </a:p>
        </p:txBody>
      </p:sp>
    </p:spTree>
    <p:extLst>
      <p:ext uri="{BB962C8B-B14F-4D97-AF65-F5344CB8AC3E}">
        <p14:creationId xmlns:p14="http://schemas.microsoft.com/office/powerpoint/2010/main" val="30137107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white background">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23410" y="5943602"/>
            <a:ext cx="2620853" cy="241439"/>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sz="1351" dirty="0">
              <a:latin typeface="Arial" panose="020B0604020202020204" pitchFamily="34" charset="0"/>
              <a:cs typeface="Arial" panose="020B0604020202020204" pitchFamily="34" charset="0"/>
            </a:endParaRPr>
          </a:p>
        </p:txBody>
      </p:sp>
      <p:sp>
        <p:nvSpPr>
          <p:cNvPr id="4" name="Espace réservé du texte 2">
            <a:extLst>
              <a:ext uri="{FF2B5EF4-FFF2-40B4-BE49-F238E27FC236}">
                <a16:creationId xmlns:a16="http://schemas.microsoft.com/office/drawing/2014/main" id="{E88ACDEA-C11A-4C4F-A94B-BBB7014BA3D2}"/>
              </a:ext>
            </a:extLst>
          </p:cNvPr>
          <p:cNvSpPr>
            <a:spLocks noGrp="1"/>
          </p:cNvSpPr>
          <p:nvPr>
            <p:ph type="body" sz="quarter" idx="10" hasCustomPrompt="1"/>
          </p:nvPr>
        </p:nvSpPr>
        <p:spPr>
          <a:xfrm>
            <a:off x="1477509" y="1001940"/>
            <a:ext cx="9803267" cy="4185761"/>
          </a:xfrm>
        </p:spPr>
        <p:txBody>
          <a:bodyPr/>
          <a:lstStyle>
            <a:lvl1pPr marL="0" indent="0">
              <a:lnSpc>
                <a:spcPct val="100000"/>
              </a:lnSpc>
              <a:spcBef>
                <a:spcPts val="0"/>
              </a:spcBef>
              <a:buNone/>
              <a:defRPr sz="3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Quote text</a:t>
            </a:r>
          </a:p>
        </p:txBody>
      </p:sp>
    </p:spTree>
    <p:extLst>
      <p:ext uri="{BB962C8B-B14F-4D97-AF65-F5344CB8AC3E}">
        <p14:creationId xmlns:p14="http://schemas.microsoft.com/office/powerpoint/2010/main" val="7635226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4_Diapositive de titre Bleu, fond gris">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5"/>
          <p:cNvSpPr/>
          <p:nvPr userDrawn="1"/>
        </p:nvSpPr>
        <p:spPr>
          <a:xfrm>
            <a:off x="11" y="0"/>
            <a:ext cx="75635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Tree>
    <p:extLst>
      <p:ext uri="{BB962C8B-B14F-4D97-AF65-F5344CB8AC3E}">
        <p14:creationId xmlns:p14="http://schemas.microsoft.com/office/powerpoint/2010/main" val="18865025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TITRE">
    <p:spTree>
      <p:nvGrpSpPr>
        <p:cNvPr id="1" name=""/>
        <p:cNvGrpSpPr/>
        <p:nvPr/>
      </p:nvGrpSpPr>
      <p:grpSpPr>
        <a:xfrm>
          <a:off x="0" y="0"/>
          <a:ext cx="0" cy="0"/>
          <a:chOff x="0" y="0"/>
          <a:chExt cx="0" cy="0"/>
        </a:xfrm>
      </p:grpSpPr>
      <p:sp>
        <p:nvSpPr>
          <p:cNvPr id="6" name="Rectangle 5"/>
          <p:cNvSpPr/>
          <p:nvPr userDrawn="1"/>
        </p:nvSpPr>
        <p:spPr>
          <a:xfrm>
            <a:off x="11" y="0"/>
            <a:ext cx="756356" cy="6858000"/>
          </a:xfrm>
          <a:prstGeom prst="rect">
            <a:avLst/>
          </a:prstGeom>
          <a:solidFill>
            <a:srgbClr val="C3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7" name="Espace réservé du texte 6"/>
          <p:cNvSpPr>
            <a:spLocks noGrp="1"/>
          </p:cNvSpPr>
          <p:nvPr>
            <p:ph type="body" sz="quarter" idx="10" hasCustomPrompt="1"/>
          </p:nvPr>
        </p:nvSpPr>
        <p:spPr>
          <a:xfrm>
            <a:off x="1060453" y="444647"/>
            <a:ext cx="10780183" cy="418576"/>
          </a:xfrm>
        </p:spPr>
        <p:txBody>
          <a:bodyPr>
            <a:noAutofit/>
          </a:bodyPr>
          <a:lstStyle>
            <a:lvl1pPr marL="0" indent="0" algn="ctr">
              <a:buNone/>
              <a:defRPr lang="fr-FR" sz="3200" kern="1200" dirty="0">
                <a:solidFill>
                  <a:srgbClr val="240058"/>
                </a:solidFill>
                <a:latin typeface="+mj-lt"/>
                <a:ea typeface="+mj-ea"/>
                <a:cs typeface="+mj-cs"/>
              </a:defRPr>
            </a:lvl1pPr>
          </a:lstStyle>
          <a:p>
            <a:pPr marL="0" lvl="0" algn="ctr" defTabSz="1088506" rtl="0" eaLnBrk="1" latinLnBrk="0" hangingPunct="1">
              <a:spcBef>
                <a:spcPct val="0"/>
              </a:spcBef>
              <a:buNone/>
            </a:pPr>
            <a:r>
              <a:rPr lang="fr-FR" dirty="0"/>
              <a:t>cliquez pour insérer un texte</a:t>
            </a:r>
          </a:p>
        </p:txBody>
      </p:sp>
    </p:spTree>
    <p:extLst>
      <p:ext uri="{BB962C8B-B14F-4D97-AF65-F5344CB8AC3E}">
        <p14:creationId xmlns:p14="http://schemas.microsoft.com/office/powerpoint/2010/main" val="30399207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37305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Bleu">
    <p:bg>
      <p:bgPr>
        <a:solidFill>
          <a:schemeClr val="bg1"/>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22"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dirty="0">
              <a:solidFill>
                <a:schemeClr val="tx1"/>
              </a:solidFill>
              <a:latin typeface="Arial" panose="020B0604020202020204" pitchFamily="34" charset="0"/>
              <a:cs typeface="Arial" panose="020B0604020202020204" pitchFamily="34" charset="0"/>
            </a:endParaRPr>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
        <p:nvSpPr>
          <p:cNvPr id="13" name="Espace réservé du texte 12">
            <a:extLst>
              <a:ext uri="{FF2B5EF4-FFF2-40B4-BE49-F238E27FC236}">
                <a16:creationId xmlns:a16="http://schemas.microsoft.com/office/drawing/2014/main" id="{4360FD32-D9B8-48CB-9F69-66C33B7C54DA}"/>
              </a:ext>
            </a:extLst>
          </p:cNvPr>
          <p:cNvSpPr>
            <a:spLocks noGrp="1"/>
          </p:cNvSpPr>
          <p:nvPr>
            <p:ph type="body" sz="quarter" idx="11" hasCustomPrompt="1"/>
          </p:nvPr>
        </p:nvSpPr>
        <p:spPr>
          <a:xfrm>
            <a:off x="1135373" y="3700890"/>
            <a:ext cx="2299325" cy="312478"/>
          </a:xfrm>
          <a:prstGeom prst="rect">
            <a:avLst/>
          </a:prstGeom>
          <a:solidFill>
            <a:schemeClr val="bg2"/>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Tree>
    <p:extLst>
      <p:ext uri="{BB962C8B-B14F-4D97-AF65-F5344CB8AC3E}">
        <p14:creationId xmlns:p14="http://schemas.microsoft.com/office/powerpoint/2010/main" val="2263516035"/>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titre avec bandeau ">
    <p:spTree>
      <p:nvGrpSpPr>
        <p:cNvPr id="1" name=""/>
        <p:cNvGrpSpPr/>
        <p:nvPr/>
      </p:nvGrpSpPr>
      <p:grpSpPr>
        <a:xfrm>
          <a:off x="0" y="0"/>
          <a:ext cx="0" cy="0"/>
          <a:chOff x="0" y="0"/>
          <a:chExt cx="0" cy="0"/>
        </a:xfrm>
      </p:grpSpPr>
      <p:sp>
        <p:nvSpPr>
          <p:cNvPr id="11" name="Rectangle 10"/>
          <p:cNvSpPr/>
          <p:nvPr/>
        </p:nvSpPr>
        <p:spPr>
          <a:xfrm>
            <a:off x="0" y="0"/>
            <a:ext cx="500358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sz="1351">
              <a:latin typeface="Arial" panose="020B0604020202020204" pitchFamily="34" charset="0"/>
              <a:cs typeface="Arial" panose="020B0604020202020204" pitchFamily="34" charset="0"/>
            </a:endParaRPr>
          </a:p>
        </p:txBody>
      </p:sp>
      <p:sp>
        <p:nvSpPr>
          <p:cNvPr id="14" name="Espace réservé du numéro de diapositive 4">
            <a:extLst>
              <a:ext uri="{FF2B5EF4-FFF2-40B4-BE49-F238E27FC236}">
                <a16:creationId xmlns:a16="http://schemas.microsoft.com/office/drawing/2014/main" id="{4851EEEE-251B-465C-9A44-B3EC2ADCE209}"/>
              </a:ext>
            </a:extLst>
          </p:cNvPr>
          <p:cNvSpPr>
            <a:spLocks noGrp="1"/>
          </p:cNvSpPr>
          <p:nvPr>
            <p:ph type="sldNum" sz="quarter" idx="17"/>
          </p:nvPr>
        </p:nvSpPr>
        <p:spPr>
          <a:xfrm>
            <a:off x="10620375" y="6390937"/>
            <a:ext cx="660400" cy="184667"/>
          </a:xfrm>
        </p:spPr>
        <p:txBody>
          <a:bodyPr/>
          <a:lstStyle/>
          <a:p>
            <a:fld id="{A5C7A32D-1116-4AE8-97EF-D42A2B21677D}" type="slidenum">
              <a:rPr lang="fr-FR" smtClean="0"/>
              <a:t>‹#›</a:t>
            </a:fld>
            <a:endParaRPr lang="fr-FR"/>
          </a:p>
        </p:txBody>
      </p:sp>
      <p:sp>
        <p:nvSpPr>
          <p:cNvPr id="16" name="Espace réservé du texte 5">
            <a:extLst>
              <a:ext uri="{FF2B5EF4-FFF2-40B4-BE49-F238E27FC236}">
                <a16:creationId xmlns:a16="http://schemas.microsoft.com/office/drawing/2014/main" id="{85665673-C441-4E89-8AF2-E736B5FD12B8}"/>
              </a:ext>
            </a:extLst>
          </p:cNvPr>
          <p:cNvSpPr>
            <a:spLocks noGrp="1"/>
          </p:cNvSpPr>
          <p:nvPr>
            <p:ph type="body" sz="quarter" idx="12" hasCustomPrompt="1"/>
          </p:nvPr>
        </p:nvSpPr>
        <p:spPr>
          <a:xfrm>
            <a:off x="5636737" y="3083214"/>
            <a:ext cx="5657291" cy="387799"/>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Sous-titre (1 ligne)</a:t>
            </a:r>
          </a:p>
        </p:txBody>
      </p:sp>
      <p:sp>
        <p:nvSpPr>
          <p:cNvPr id="17" name="Espace réservé du texte 2">
            <a:extLst>
              <a:ext uri="{FF2B5EF4-FFF2-40B4-BE49-F238E27FC236}">
                <a16:creationId xmlns:a16="http://schemas.microsoft.com/office/drawing/2014/main" id="{EBCFE1BB-1DE5-4317-B5D8-DB6D96FB774E}"/>
              </a:ext>
            </a:extLst>
          </p:cNvPr>
          <p:cNvSpPr>
            <a:spLocks noGrp="1"/>
          </p:cNvSpPr>
          <p:nvPr>
            <p:ph type="body" sz="quarter" idx="15" hasCustomPrompt="1"/>
          </p:nvPr>
        </p:nvSpPr>
        <p:spPr>
          <a:xfrm>
            <a:off x="5622925" y="3710215"/>
            <a:ext cx="5657851" cy="1809751"/>
          </a:xfrm>
        </p:spPr>
        <p:txBody>
          <a:bodyPr/>
          <a:lstStyle>
            <a:lvl1pPr marL="0" indent="0">
              <a:lnSpc>
                <a:spcPct val="150000"/>
              </a:lnSpc>
              <a:spcBef>
                <a:spcPts val="0"/>
              </a:spcBef>
              <a:buNone/>
              <a:defRPr sz="2000" b="0">
                <a:solidFill>
                  <a:schemeClr val="tx2"/>
                </a:solidFill>
              </a:defRPr>
            </a:lvl1pPr>
          </a:lstStyle>
          <a:p>
            <a:pPr lvl="0"/>
            <a:r>
              <a:rPr lang="fr-FR" dirty="0"/>
              <a:t>Texte complémentaire</a:t>
            </a:r>
          </a:p>
        </p:txBody>
      </p:sp>
      <p:sp>
        <p:nvSpPr>
          <p:cNvPr id="9" name="Titre 1">
            <a:extLst>
              <a:ext uri="{FF2B5EF4-FFF2-40B4-BE49-F238E27FC236}">
                <a16:creationId xmlns:a16="http://schemas.microsoft.com/office/drawing/2014/main" id="{DC49C064-76C9-41A1-9E59-8A19019F8523}"/>
              </a:ext>
            </a:extLst>
          </p:cNvPr>
          <p:cNvSpPr>
            <a:spLocks noGrp="1"/>
          </p:cNvSpPr>
          <p:nvPr>
            <p:ph type="ctrTitle" hasCustomPrompt="1"/>
          </p:nvPr>
        </p:nvSpPr>
        <p:spPr>
          <a:xfrm>
            <a:off x="5623485" y="1398521"/>
            <a:ext cx="5657291" cy="1495795"/>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a:t>Titre (3 lignes max)</a:t>
            </a:r>
          </a:p>
        </p:txBody>
      </p:sp>
    </p:spTree>
    <p:extLst>
      <p:ext uri="{BB962C8B-B14F-4D97-AF65-F5344CB8AC3E}">
        <p14:creationId xmlns:p14="http://schemas.microsoft.com/office/powerpoint/2010/main" val="22104278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6316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1_Blank">
  <p:cSld name="1_Blank">
    <p:spTree>
      <p:nvGrpSpPr>
        <p:cNvPr id="1" name="Shape 22"/>
        <p:cNvGrpSpPr/>
        <p:nvPr/>
      </p:nvGrpSpPr>
      <p:grpSpPr>
        <a:xfrm>
          <a:off x="0" y="0"/>
          <a:ext cx="0" cy="0"/>
          <a:chOff x="0" y="0"/>
          <a:chExt cx="0" cy="0"/>
        </a:xfrm>
      </p:grpSpPr>
    </p:spTree>
    <p:extLst>
      <p:ext uri="{BB962C8B-B14F-4D97-AF65-F5344CB8AC3E}">
        <p14:creationId xmlns:p14="http://schemas.microsoft.com/office/powerpoint/2010/main" val="23129797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4210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re Bleu">
    <p:bg>
      <p:bgPr>
        <a:solidFill>
          <a:schemeClr val="bg1"/>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22"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dirty="0">
              <a:solidFill>
                <a:schemeClr val="tx1"/>
              </a:solidFill>
              <a:latin typeface="Arial" panose="020B0604020202020204" pitchFamily="34" charset="0"/>
              <a:cs typeface="Arial" panose="020B0604020202020204" pitchFamily="34" charset="0"/>
            </a:endParaRPr>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
        <p:nvSpPr>
          <p:cNvPr id="13" name="Espace réservé du texte 12">
            <a:extLst>
              <a:ext uri="{FF2B5EF4-FFF2-40B4-BE49-F238E27FC236}">
                <a16:creationId xmlns:a16="http://schemas.microsoft.com/office/drawing/2014/main" id="{4360FD32-D9B8-48CB-9F69-66C33B7C54DA}"/>
              </a:ext>
            </a:extLst>
          </p:cNvPr>
          <p:cNvSpPr>
            <a:spLocks noGrp="1"/>
          </p:cNvSpPr>
          <p:nvPr>
            <p:ph type="body" sz="quarter" idx="11" hasCustomPrompt="1"/>
          </p:nvPr>
        </p:nvSpPr>
        <p:spPr>
          <a:xfrm>
            <a:off x="1135373" y="3700890"/>
            <a:ext cx="2299325" cy="312478"/>
          </a:xfrm>
          <a:prstGeom prst="rect">
            <a:avLst/>
          </a:prstGeom>
          <a:solidFill>
            <a:schemeClr val="bg2"/>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Tree>
    <p:extLst>
      <p:ext uri="{BB962C8B-B14F-4D97-AF65-F5344CB8AC3E}">
        <p14:creationId xmlns:p14="http://schemas.microsoft.com/office/powerpoint/2010/main" val="4070282147"/>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re Blanc">
    <p:bg>
      <p:bgPr>
        <a:solidFill>
          <a:schemeClr val="tx1"/>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
        <p:nvSpPr>
          <p:cNvPr id="7" name="Freeform 5">
            <a:extLst>
              <a:ext uri="{FF2B5EF4-FFF2-40B4-BE49-F238E27FC236}">
                <a16:creationId xmlns:a16="http://schemas.microsoft.com/office/drawing/2014/main" id="{9721F3F3-2AF1-407B-9C3E-3BA0B4104B59}"/>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rgbClr val="3F2381"/>
          </a:solidFill>
          <a:ln>
            <a:noFill/>
          </a:ln>
        </p:spPr>
        <p:txBody>
          <a:bodyPr vert="horz" wrap="square" lIns="91440" tIns="45720" rIns="91440" bIns="45720" numCol="1" anchor="t" anchorCtr="0" compatLnSpc="1">
            <a:prstTxWarp prst="textNoShape">
              <a:avLst/>
            </a:prstTxWarp>
          </a:bodyPr>
          <a:lstStyle/>
          <a:p>
            <a:endParaRPr lang="fr-FR" dirty="0">
              <a:latin typeface="Arial" panose="020B0604020202020204" pitchFamily="34" charset="0"/>
              <a:cs typeface="Arial" panose="020B0604020202020204" pitchFamily="34" charset="0"/>
            </a:endParaRPr>
          </a:p>
        </p:txBody>
      </p:sp>
      <p:sp>
        <p:nvSpPr>
          <p:cNvPr id="6" name="Espace réservé du texte 12">
            <a:extLst>
              <a:ext uri="{FF2B5EF4-FFF2-40B4-BE49-F238E27FC236}">
                <a16:creationId xmlns:a16="http://schemas.microsoft.com/office/drawing/2014/main" id="{286CA3D1-4161-4AFB-ACE2-50613BBB54A1}"/>
              </a:ext>
            </a:extLst>
          </p:cNvPr>
          <p:cNvSpPr>
            <a:spLocks noGrp="1"/>
          </p:cNvSpPr>
          <p:nvPr>
            <p:ph type="body" sz="quarter" idx="11" hasCustomPrompt="1"/>
          </p:nvPr>
        </p:nvSpPr>
        <p:spPr>
          <a:xfrm>
            <a:off x="1135373" y="3700890"/>
            <a:ext cx="2299325" cy="312478"/>
          </a:xfrm>
          <a:prstGeom prst="rect">
            <a:avLst/>
          </a:prstGeom>
          <a:solidFill>
            <a:schemeClr val="bg2"/>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Tree>
    <p:extLst>
      <p:ext uri="{BB962C8B-B14F-4D97-AF65-F5344CB8AC3E}">
        <p14:creationId xmlns:p14="http://schemas.microsoft.com/office/powerpoint/2010/main" val="1564932189"/>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re Violet">
    <p:bg>
      <p:bgPr>
        <a:solidFill>
          <a:schemeClr val="bg2"/>
        </a:solidFill>
        <a:effectLst/>
      </p:bgPr>
    </p:bg>
    <p:spTree>
      <p:nvGrpSpPr>
        <p:cNvPr id="1" name=""/>
        <p:cNvGrpSpPr/>
        <p:nvPr/>
      </p:nvGrpSpPr>
      <p:grpSpPr>
        <a:xfrm>
          <a:off x="0" y="0"/>
          <a:ext cx="0" cy="0"/>
          <a:chOff x="0" y="0"/>
          <a:chExt cx="0" cy="0"/>
        </a:xfrm>
      </p:grpSpPr>
      <p:sp>
        <p:nvSpPr>
          <p:cNvPr id="22"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dirty="0">
              <a:solidFill>
                <a:schemeClr val="tx1"/>
              </a:solidFill>
              <a:latin typeface="Arial" panose="020B0604020202020204" pitchFamily="34" charset="0"/>
              <a:cs typeface="Arial" panose="020B0604020202020204" pitchFamily="34" charset="0"/>
            </a:endParaRPr>
          </a:p>
        </p:txBody>
      </p:sp>
      <p:sp>
        <p:nvSpPr>
          <p:cNvPr id="6" name="Espace réservé du texte 12">
            <a:extLst>
              <a:ext uri="{FF2B5EF4-FFF2-40B4-BE49-F238E27FC236}">
                <a16:creationId xmlns:a16="http://schemas.microsoft.com/office/drawing/2014/main" id="{52B1AC74-424E-4978-A5B4-EF39545E59DF}"/>
              </a:ext>
            </a:extLst>
          </p:cNvPr>
          <p:cNvSpPr>
            <a:spLocks noGrp="1"/>
          </p:cNvSpPr>
          <p:nvPr>
            <p:ph type="body" sz="quarter" idx="11" hasCustomPrompt="1"/>
          </p:nvPr>
        </p:nvSpPr>
        <p:spPr>
          <a:xfrm>
            <a:off x="1135373" y="3700890"/>
            <a:ext cx="2299325" cy="312478"/>
          </a:xfrm>
          <a:prstGeom prst="rect">
            <a:avLst/>
          </a:prstGeom>
          <a:solidFill>
            <a:schemeClr val="bg1"/>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
        <p:nvSpPr>
          <p:cNvPr id="7" name="Titre 1">
            <a:extLst>
              <a:ext uri="{FF2B5EF4-FFF2-40B4-BE49-F238E27FC236}">
                <a16:creationId xmlns:a16="http://schemas.microsoft.com/office/drawing/2014/main" id="{270B4347-3ACE-40C7-A56B-D0FBDC961001}"/>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8" name="Espace réservé du texte 12">
            <a:extLst>
              <a:ext uri="{FF2B5EF4-FFF2-40B4-BE49-F238E27FC236}">
                <a16:creationId xmlns:a16="http://schemas.microsoft.com/office/drawing/2014/main" id="{D26847B3-D800-48D1-A2E1-E725CEF86836}"/>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Tree>
    <p:extLst>
      <p:ext uri="{BB962C8B-B14F-4D97-AF65-F5344CB8AC3E}">
        <p14:creationId xmlns:p14="http://schemas.microsoft.com/office/powerpoint/2010/main" val="650916043"/>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ommaire Bleu">
    <p:bg>
      <p:bgPr>
        <a:solidFill>
          <a:schemeClr val="tx1"/>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bg1"/>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Tree>
    <p:extLst>
      <p:ext uri="{BB962C8B-B14F-4D97-AF65-F5344CB8AC3E}">
        <p14:creationId xmlns:p14="http://schemas.microsoft.com/office/powerpoint/2010/main" val="30754511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ommaire violet">
    <p:bg>
      <p:bgPr>
        <a:solidFill>
          <a:schemeClr val="tx2"/>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bg1"/>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Tree>
    <p:extLst>
      <p:ext uri="{BB962C8B-B14F-4D97-AF65-F5344CB8AC3E}">
        <p14:creationId xmlns:p14="http://schemas.microsoft.com/office/powerpoint/2010/main" val="28107496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ommaire Blanc">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tx2"/>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
        <p:nvSpPr>
          <p:cNvPr id="6" name="Freeform 5">
            <a:extLst>
              <a:ext uri="{FF2B5EF4-FFF2-40B4-BE49-F238E27FC236}">
                <a16:creationId xmlns:a16="http://schemas.microsoft.com/office/drawing/2014/main" id="{F8E3B9C8-10DF-49C3-98AD-9648E90DFBBE}"/>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rgbClr val="3F2381"/>
          </a:solidFill>
          <a:ln>
            <a:noFill/>
          </a:ln>
        </p:spPr>
        <p:txBody>
          <a:bodyPr vert="horz" wrap="square" lIns="91440" tIns="45720" rIns="91440" bIns="45720" numCol="1" anchor="t" anchorCtr="0" compatLnSpc="1">
            <a:prstTxWarp prst="textNoShape">
              <a:avLst/>
            </a:prstTxWarp>
          </a:bodyPr>
          <a:lstStyle/>
          <a:p>
            <a:endParaRPr lang="fr-FR" dirty="0">
              <a:solidFill>
                <a:srgbClr val="3F238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278100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re Blanc">
    <p:bg>
      <p:bgPr>
        <a:solidFill>
          <a:schemeClr val="tx1"/>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
        <p:nvSpPr>
          <p:cNvPr id="7" name="Freeform 5">
            <a:extLst>
              <a:ext uri="{FF2B5EF4-FFF2-40B4-BE49-F238E27FC236}">
                <a16:creationId xmlns:a16="http://schemas.microsoft.com/office/drawing/2014/main" id="{9721F3F3-2AF1-407B-9C3E-3BA0B4104B59}"/>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rgbClr val="3F2381"/>
          </a:solidFill>
          <a:ln>
            <a:noFill/>
          </a:ln>
        </p:spPr>
        <p:txBody>
          <a:bodyPr vert="horz" wrap="square" lIns="91440" tIns="45720" rIns="91440" bIns="45720" numCol="1" anchor="t" anchorCtr="0" compatLnSpc="1">
            <a:prstTxWarp prst="textNoShape">
              <a:avLst/>
            </a:prstTxWarp>
          </a:bodyPr>
          <a:lstStyle/>
          <a:p>
            <a:endParaRPr lang="fr-FR" dirty="0">
              <a:latin typeface="Arial" panose="020B0604020202020204" pitchFamily="34" charset="0"/>
              <a:cs typeface="Arial" panose="020B0604020202020204" pitchFamily="34" charset="0"/>
            </a:endParaRPr>
          </a:p>
        </p:txBody>
      </p:sp>
      <p:sp>
        <p:nvSpPr>
          <p:cNvPr id="6" name="Espace réservé du texte 12">
            <a:extLst>
              <a:ext uri="{FF2B5EF4-FFF2-40B4-BE49-F238E27FC236}">
                <a16:creationId xmlns:a16="http://schemas.microsoft.com/office/drawing/2014/main" id="{286CA3D1-4161-4AFB-ACE2-50613BBB54A1}"/>
              </a:ext>
            </a:extLst>
          </p:cNvPr>
          <p:cNvSpPr>
            <a:spLocks noGrp="1"/>
          </p:cNvSpPr>
          <p:nvPr>
            <p:ph type="body" sz="quarter" idx="11" hasCustomPrompt="1"/>
          </p:nvPr>
        </p:nvSpPr>
        <p:spPr>
          <a:xfrm>
            <a:off x="1135373" y="3700890"/>
            <a:ext cx="2299325" cy="312478"/>
          </a:xfrm>
          <a:prstGeom prst="rect">
            <a:avLst/>
          </a:prstGeom>
          <a:solidFill>
            <a:schemeClr val="bg2"/>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Tree>
    <p:extLst>
      <p:ext uri="{BB962C8B-B14F-4D97-AF65-F5344CB8AC3E}">
        <p14:creationId xmlns:p14="http://schemas.microsoft.com/office/powerpoint/2010/main" val="3025526632"/>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GENERAL - merci">
    <p:bg>
      <p:bgPr>
        <a:solidFill>
          <a:schemeClr val="tx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C50DCE55-0914-418C-838D-74D38308EFDD}"/>
              </a:ext>
            </a:extLst>
          </p:cNvPr>
          <p:cNvSpPr>
            <a:spLocks noEditPoints="1"/>
          </p:cNvSpPr>
          <p:nvPr/>
        </p:nvSpPr>
        <p:spPr bwMode="auto">
          <a:xfrm>
            <a:off x="4808841" y="5956852"/>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6A38B8CE-E1A2-4BA0-AC9D-0E15EF70E3B1}"/>
              </a:ext>
            </a:extLst>
          </p:cNvPr>
          <p:cNvSpPr>
            <a:spLocks noGrp="1"/>
          </p:cNvSpPr>
          <p:nvPr>
            <p:ph type="ctrTitle" hasCustomPrompt="1"/>
          </p:nvPr>
        </p:nvSpPr>
        <p:spPr>
          <a:xfrm>
            <a:off x="1109784" y="2182122"/>
            <a:ext cx="9972431" cy="2281565"/>
          </a:xfrm>
          <a:prstGeom prst="rect">
            <a:avLst/>
          </a:prstGeom>
        </p:spPr>
        <p:txBody>
          <a:bodyPr anchor="t"/>
          <a:lstStyle>
            <a:lvl1pPr marL="0" algn="ctr" defTabSz="914400" rtl="0" eaLnBrk="1" latinLnBrk="0" hangingPunct="1">
              <a:lnSpc>
                <a:spcPct val="100000"/>
              </a:lnSpc>
              <a:defRPr lang="fr-FR" sz="14400" b="1" i="0" kern="1200" cap="none" spc="-300" baseline="0" dirty="0">
                <a:solidFill>
                  <a:schemeClr val="bg1"/>
                </a:solidFill>
                <a:latin typeface="Arial" panose="020B0604020202020204" pitchFamily="34" charset="0"/>
                <a:ea typeface="Montserrat" charset="0"/>
                <a:cs typeface="Arial" panose="020B0604020202020204" pitchFamily="34" charset="0"/>
              </a:defRPr>
            </a:lvl1pPr>
          </a:lstStyle>
          <a:p>
            <a:r>
              <a:rPr lang="fr-FR"/>
              <a:t>Merci</a:t>
            </a:r>
            <a:endParaRPr lang="fr-FR" dirty="0"/>
          </a:p>
        </p:txBody>
      </p:sp>
    </p:spTree>
    <p:extLst>
      <p:ext uri="{BB962C8B-B14F-4D97-AF65-F5344CB8AC3E}">
        <p14:creationId xmlns:p14="http://schemas.microsoft.com/office/powerpoint/2010/main" val="31916916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hapitre - couleur 1">
    <p:bg>
      <p:bgPr>
        <a:solidFill>
          <a:schemeClr val="tx2"/>
        </a:solidFill>
        <a:effectLst/>
      </p:bgPr>
    </p:bg>
    <p:spTree>
      <p:nvGrpSpPr>
        <p:cNvPr id="1" name=""/>
        <p:cNvGrpSpPr/>
        <p:nvPr/>
      </p:nvGrpSpPr>
      <p:grpSpPr>
        <a:xfrm>
          <a:off x="0" y="0"/>
          <a:ext cx="0" cy="0"/>
          <a:chOff x="0" y="0"/>
          <a:chExt cx="0" cy="0"/>
        </a:xfrm>
      </p:grpSpPr>
      <p:sp>
        <p:nvSpPr>
          <p:cNvPr id="8" name="Forme libre : forme 7">
            <a:extLst>
              <a:ext uri="{FF2B5EF4-FFF2-40B4-BE49-F238E27FC236}">
                <a16:creationId xmlns:a16="http://schemas.microsoft.com/office/drawing/2014/main" id="{46B4955B-E954-4D1C-A8AC-F819D9523177}"/>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5"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2548608" y="2360258"/>
            <a:ext cx="3777671" cy="2085293"/>
          </a:xfrm>
          <a:prstGeom prst="rect">
            <a:avLst/>
          </a:prstGeom>
        </p:spPr>
        <p:txBody>
          <a:bodyPr anchor="t">
            <a:noAutofit/>
          </a:bodyPr>
          <a:lstStyle>
            <a:lvl1pPr algn="l">
              <a:defRPr kumimoji="0" lang="fr-FR" sz="5400" b="1" i="0" u="none" strike="noStrike" kern="1200" cap="none" spc="0" normalizeH="0" baseline="0" dirty="0">
                <a:ln>
                  <a:noFill/>
                </a:ln>
                <a:solidFill>
                  <a:prstClr val="white"/>
                </a:solidFill>
                <a:effectLst/>
                <a:uLnTx/>
                <a:uFillTx/>
                <a:latin typeface="Arial" panose="020B0604020202020204" pitchFamily="34" charset="0"/>
                <a:ea typeface="Arial"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Titre </a:t>
            </a:r>
            <a:r>
              <a:rPr lang="fr-FR" dirty="0" err="1"/>
              <a:t>lorem</a:t>
            </a:r>
            <a:r>
              <a:rPr lang="fr-FR" dirty="0"/>
              <a:t> </a:t>
            </a:r>
            <a:br>
              <a:rPr lang="fr-FR" dirty="0"/>
            </a:br>
            <a:r>
              <a:rPr lang="fr-FR" dirty="0"/>
              <a:t>ipsum</a:t>
            </a:r>
          </a:p>
        </p:txBody>
      </p:sp>
      <p:sp>
        <p:nvSpPr>
          <p:cNvPr id="15" name="Espace réservé du texte 14">
            <a:extLst>
              <a:ext uri="{FF2B5EF4-FFF2-40B4-BE49-F238E27FC236}">
                <a16:creationId xmlns:a16="http://schemas.microsoft.com/office/drawing/2014/main" id="{57954682-473A-4564-A864-BF745DBA7CD4}"/>
              </a:ext>
            </a:extLst>
          </p:cNvPr>
          <p:cNvSpPr>
            <a:spLocks noGrp="1"/>
          </p:cNvSpPr>
          <p:nvPr>
            <p:ph type="body" sz="quarter" idx="12" hasCustomPrompt="1"/>
          </p:nvPr>
        </p:nvSpPr>
        <p:spPr>
          <a:xfrm>
            <a:off x="2323745" y="602896"/>
            <a:ext cx="2775379" cy="1998662"/>
          </a:xfrm>
        </p:spPr>
        <p:txBody>
          <a:bodyPr/>
          <a:lstStyle>
            <a:lvl1pPr marL="0" indent="0">
              <a:buNone/>
              <a:defRPr lang="fr-FR" sz="14400" b="1" i="0" kern="1200" cap="none" spc="-300" baseline="0" dirty="0" smtClean="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914400" rtl="0" eaLnBrk="1" latinLnBrk="0" hangingPunct="1">
              <a:lnSpc>
                <a:spcPct val="90000"/>
              </a:lnSpc>
              <a:spcBef>
                <a:spcPct val="0"/>
              </a:spcBef>
              <a:buFont typeface="+mj-lt"/>
              <a:buNone/>
            </a:pPr>
            <a:r>
              <a:rPr lang="fr-FR" dirty="0"/>
              <a:t>01</a:t>
            </a:r>
          </a:p>
        </p:txBody>
      </p:sp>
    </p:spTree>
    <p:extLst>
      <p:ext uri="{BB962C8B-B14F-4D97-AF65-F5344CB8AC3E}">
        <p14:creationId xmlns:p14="http://schemas.microsoft.com/office/powerpoint/2010/main" val="4211007153"/>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hapitre - couleur 2">
    <p:bg>
      <p:bgPr>
        <a:solidFill>
          <a:srgbClr val="A954F3"/>
        </a:solidFill>
        <a:effectLst/>
      </p:bgPr>
    </p:bg>
    <p:spTree>
      <p:nvGrpSpPr>
        <p:cNvPr id="1" name=""/>
        <p:cNvGrpSpPr/>
        <p:nvPr/>
      </p:nvGrpSpPr>
      <p:grpSpPr>
        <a:xfrm>
          <a:off x="0" y="0"/>
          <a:ext cx="0" cy="0"/>
          <a:chOff x="0" y="0"/>
          <a:chExt cx="0" cy="0"/>
        </a:xfrm>
      </p:grpSpPr>
      <p:sp>
        <p:nvSpPr>
          <p:cNvPr id="6" name="Forme libre : forme 5">
            <a:extLst>
              <a:ext uri="{FF2B5EF4-FFF2-40B4-BE49-F238E27FC236}">
                <a16:creationId xmlns:a16="http://schemas.microsoft.com/office/drawing/2014/main" id="{08A66C0B-7A91-49D1-B6DC-75E2CABB243D}"/>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10" name="Titre 1">
            <a:extLst>
              <a:ext uri="{FF2B5EF4-FFF2-40B4-BE49-F238E27FC236}">
                <a16:creationId xmlns:a16="http://schemas.microsoft.com/office/drawing/2014/main" id="{EE69A519-AD58-4C3A-B352-6640C7E8B143}"/>
              </a:ext>
            </a:extLst>
          </p:cNvPr>
          <p:cNvSpPr>
            <a:spLocks noGrp="1"/>
          </p:cNvSpPr>
          <p:nvPr>
            <p:ph type="ctrTitle" hasCustomPrompt="1"/>
          </p:nvPr>
        </p:nvSpPr>
        <p:spPr>
          <a:xfrm>
            <a:off x="2553987"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E2D991CF-D89E-47DF-9E4C-C96B50AB65CA}"/>
              </a:ext>
            </a:extLst>
          </p:cNvPr>
          <p:cNvSpPr>
            <a:spLocks noGrp="1"/>
          </p:cNvSpPr>
          <p:nvPr>
            <p:ph type="body" sz="quarter" idx="10" hasCustomPrompt="1"/>
          </p:nvPr>
        </p:nvSpPr>
        <p:spPr>
          <a:xfrm>
            <a:off x="2323746" y="602896"/>
            <a:ext cx="2797175" cy="1998662"/>
          </a:xfrm>
        </p:spPr>
        <p:txBody>
          <a:bodyPr/>
          <a:lstStyle>
            <a:lvl1pPr marL="0" indent="0">
              <a:buNone/>
              <a:defRPr sz="14400">
                <a:solidFill>
                  <a:schemeClr val="bg1"/>
                </a:solidFill>
              </a:defRPr>
            </a:lvl1pPr>
          </a:lstStyle>
          <a:p>
            <a:pPr lvl="0"/>
            <a:r>
              <a:rPr lang="fr-FR" dirty="0"/>
              <a:t>02</a:t>
            </a:r>
          </a:p>
        </p:txBody>
      </p:sp>
    </p:spTree>
    <p:extLst>
      <p:ext uri="{BB962C8B-B14F-4D97-AF65-F5344CB8AC3E}">
        <p14:creationId xmlns:p14="http://schemas.microsoft.com/office/powerpoint/2010/main" val="160208844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hapitre - couleur 3">
    <p:bg>
      <p:bgPr>
        <a:solidFill>
          <a:schemeClr val="accent5"/>
        </a:solidFill>
        <a:effectLst/>
      </p:bgPr>
    </p:bg>
    <p:spTree>
      <p:nvGrpSpPr>
        <p:cNvPr id="1" name=""/>
        <p:cNvGrpSpPr/>
        <p:nvPr/>
      </p:nvGrpSpPr>
      <p:grpSpPr>
        <a:xfrm>
          <a:off x="0" y="0"/>
          <a:ext cx="0" cy="0"/>
          <a:chOff x="0" y="0"/>
          <a:chExt cx="0" cy="0"/>
        </a:xfrm>
      </p:grpSpPr>
      <p:sp>
        <p:nvSpPr>
          <p:cNvPr id="6" name="Forme libre : forme 5">
            <a:extLst>
              <a:ext uri="{FF2B5EF4-FFF2-40B4-BE49-F238E27FC236}">
                <a16:creationId xmlns:a16="http://schemas.microsoft.com/office/drawing/2014/main" id="{BC1F219E-6EE5-45E1-95BF-24AF2AE9B670}"/>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7" name="Titre 1">
            <a:extLst>
              <a:ext uri="{FF2B5EF4-FFF2-40B4-BE49-F238E27FC236}">
                <a16:creationId xmlns:a16="http://schemas.microsoft.com/office/drawing/2014/main" id="{7E4C8E49-10A8-4B97-A07C-9996B4509580}"/>
              </a:ext>
            </a:extLst>
          </p:cNvPr>
          <p:cNvSpPr>
            <a:spLocks noGrp="1"/>
          </p:cNvSpPr>
          <p:nvPr>
            <p:ph type="ctrTitle" hasCustomPrompt="1"/>
          </p:nvPr>
        </p:nvSpPr>
        <p:spPr>
          <a:xfrm>
            <a:off x="2547579" y="2360258"/>
            <a:ext cx="3784319"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0A5045EE-9823-4299-B2AD-149B222C233B}"/>
              </a:ext>
            </a:extLst>
          </p:cNvPr>
          <p:cNvSpPr>
            <a:spLocks noGrp="1"/>
          </p:cNvSpPr>
          <p:nvPr>
            <p:ph type="body" sz="quarter" idx="10" hasCustomPrompt="1"/>
          </p:nvPr>
        </p:nvSpPr>
        <p:spPr>
          <a:xfrm>
            <a:off x="2323746" y="592138"/>
            <a:ext cx="2786062"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3</a:t>
            </a:r>
          </a:p>
        </p:txBody>
      </p:sp>
    </p:spTree>
    <p:extLst>
      <p:ext uri="{BB962C8B-B14F-4D97-AF65-F5344CB8AC3E}">
        <p14:creationId xmlns:p14="http://schemas.microsoft.com/office/powerpoint/2010/main" val="23336738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hapitre - couleur 4">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A6029C02-FF1D-4946-B0E8-50832E90EF58}"/>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10" name="Titre 1">
            <a:extLst>
              <a:ext uri="{FF2B5EF4-FFF2-40B4-BE49-F238E27FC236}">
                <a16:creationId xmlns:a16="http://schemas.microsoft.com/office/drawing/2014/main" id="{8B777760-0DDA-4E7E-AD3C-49A729EBF753}"/>
              </a:ext>
            </a:extLst>
          </p:cNvPr>
          <p:cNvSpPr>
            <a:spLocks noGrp="1"/>
          </p:cNvSpPr>
          <p:nvPr>
            <p:ph type="ctrTitle" hasCustomPrompt="1"/>
          </p:nvPr>
        </p:nvSpPr>
        <p:spPr>
          <a:xfrm>
            <a:off x="2547583" y="2357536"/>
            <a:ext cx="3777671" cy="2089052"/>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16BE4419-5819-4E16-B314-B7BBE4C60903}"/>
              </a:ext>
            </a:extLst>
          </p:cNvPr>
          <p:cNvSpPr>
            <a:spLocks noGrp="1"/>
          </p:cNvSpPr>
          <p:nvPr>
            <p:ph type="body" sz="quarter" idx="10" hasCustomPrompt="1"/>
          </p:nvPr>
        </p:nvSpPr>
        <p:spPr>
          <a:xfrm>
            <a:off x="2312988" y="592138"/>
            <a:ext cx="2786062"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4</a:t>
            </a:r>
          </a:p>
        </p:txBody>
      </p:sp>
    </p:spTree>
    <p:extLst>
      <p:ext uri="{BB962C8B-B14F-4D97-AF65-F5344CB8AC3E}">
        <p14:creationId xmlns:p14="http://schemas.microsoft.com/office/powerpoint/2010/main" val="20361725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hapitre - couleur 5">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EFAE98A2-8138-4EE9-A8BE-5A0AFAE9122D}"/>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9" name="Titre 1">
            <a:extLst>
              <a:ext uri="{FF2B5EF4-FFF2-40B4-BE49-F238E27FC236}">
                <a16:creationId xmlns:a16="http://schemas.microsoft.com/office/drawing/2014/main" id="{4540555D-49F7-4ED2-A528-60D56A5F6794}"/>
              </a:ext>
            </a:extLst>
          </p:cNvPr>
          <p:cNvSpPr>
            <a:spLocks noGrp="1"/>
          </p:cNvSpPr>
          <p:nvPr>
            <p:ph type="ctrTitle" hasCustomPrompt="1"/>
          </p:nvPr>
        </p:nvSpPr>
        <p:spPr>
          <a:xfrm>
            <a:off x="2547583" y="2351180"/>
            <a:ext cx="3777671" cy="2095408"/>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41B28701-941F-4C97-AD87-1B8D6E4B30CE}"/>
              </a:ext>
            </a:extLst>
          </p:cNvPr>
          <p:cNvSpPr>
            <a:spLocks noGrp="1"/>
          </p:cNvSpPr>
          <p:nvPr>
            <p:ph type="body" sz="quarter" idx="10" hasCustomPrompt="1"/>
          </p:nvPr>
        </p:nvSpPr>
        <p:spPr>
          <a:xfrm>
            <a:off x="2323746" y="602896"/>
            <a:ext cx="2797175"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5</a:t>
            </a:r>
          </a:p>
        </p:txBody>
      </p:sp>
    </p:spTree>
    <p:extLst>
      <p:ext uri="{BB962C8B-B14F-4D97-AF65-F5344CB8AC3E}">
        <p14:creationId xmlns:p14="http://schemas.microsoft.com/office/powerpoint/2010/main" val="40027815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hapitre - couleur 6">
    <p:bg>
      <p:bgPr>
        <a:solidFill>
          <a:schemeClr val="accent4"/>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7BEED087-F2FD-4906-8C61-61A7C5DBF264}"/>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032A1E69-C3B5-4A64-938E-FB5B8479C75A}"/>
              </a:ext>
            </a:extLst>
          </p:cNvPr>
          <p:cNvSpPr>
            <a:spLocks noGrp="1"/>
          </p:cNvSpPr>
          <p:nvPr>
            <p:ph type="ctrTitle" hasCustomPrompt="1"/>
          </p:nvPr>
        </p:nvSpPr>
        <p:spPr>
          <a:xfrm>
            <a:off x="2547583"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endParaRPr lang="fr-FR" dirty="0"/>
          </a:p>
        </p:txBody>
      </p:sp>
      <p:sp>
        <p:nvSpPr>
          <p:cNvPr id="3" name="Espace réservé du texte 2">
            <a:extLst>
              <a:ext uri="{FF2B5EF4-FFF2-40B4-BE49-F238E27FC236}">
                <a16:creationId xmlns:a16="http://schemas.microsoft.com/office/drawing/2014/main" id="{908FFF5E-B233-4CF2-8E7D-DFF511C3A171}"/>
              </a:ext>
            </a:extLst>
          </p:cNvPr>
          <p:cNvSpPr>
            <a:spLocks noGrp="1"/>
          </p:cNvSpPr>
          <p:nvPr>
            <p:ph type="body" sz="quarter" idx="10" hasCustomPrompt="1"/>
          </p:nvPr>
        </p:nvSpPr>
        <p:spPr>
          <a:xfrm>
            <a:off x="2312988" y="592138"/>
            <a:ext cx="2797175"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6</a:t>
            </a:r>
          </a:p>
        </p:txBody>
      </p:sp>
    </p:spTree>
    <p:extLst>
      <p:ext uri="{BB962C8B-B14F-4D97-AF65-F5344CB8AC3E}">
        <p14:creationId xmlns:p14="http://schemas.microsoft.com/office/powerpoint/2010/main" val="19395909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hapitre - couleur 7">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9B918CD8-03E5-4DBF-B058-8714A6F9F991}"/>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36201EFC-76F8-4DC5-813E-EECEF163CA3C}"/>
              </a:ext>
            </a:extLst>
          </p:cNvPr>
          <p:cNvSpPr>
            <a:spLocks noGrp="1"/>
          </p:cNvSpPr>
          <p:nvPr>
            <p:ph type="ctrTitle" hasCustomPrompt="1"/>
          </p:nvPr>
        </p:nvSpPr>
        <p:spPr>
          <a:xfrm>
            <a:off x="2551992"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5B8191F3-624C-4754-B027-319858716A32}"/>
              </a:ext>
            </a:extLst>
          </p:cNvPr>
          <p:cNvSpPr>
            <a:spLocks noGrp="1"/>
          </p:cNvSpPr>
          <p:nvPr>
            <p:ph type="body" sz="quarter" idx="10" hasCustomPrompt="1"/>
          </p:nvPr>
        </p:nvSpPr>
        <p:spPr>
          <a:xfrm>
            <a:off x="2312988" y="592138"/>
            <a:ext cx="2808287"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7</a:t>
            </a:r>
          </a:p>
        </p:txBody>
      </p:sp>
    </p:spTree>
    <p:extLst>
      <p:ext uri="{BB962C8B-B14F-4D97-AF65-F5344CB8AC3E}">
        <p14:creationId xmlns:p14="http://schemas.microsoft.com/office/powerpoint/2010/main" val="152480219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ommaire chapitre">
    <p:spTree>
      <p:nvGrpSpPr>
        <p:cNvPr id="1" name=""/>
        <p:cNvGrpSpPr/>
        <p:nvPr/>
      </p:nvGrpSpPr>
      <p:grpSpPr>
        <a:xfrm>
          <a:off x="0" y="0"/>
          <a:ext cx="0" cy="0"/>
          <a:chOff x="0" y="0"/>
          <a:chExt cx="0" cy="0"/>
        </a:xfrm>
      </p:grpSpPr>
      <p:sp>
        <p:nvSpPr>
          <p:cNvPr id="11" name="Espace réservé du texte 5">
            <a:extLst>
              <a:ext uri="{FF2B5EF4-FFF2-40B4-BE49-F238E27FC236}">
                <a16:creationId xmlns:a16="http://schemas.microsoft.com/office/drawing/2014/main" id="{27C16BB3-6421-4A83-B0C9-DBE4919C18F4}"/>
              </a:ext>
            </a:extLst>
          </p:cNvPr>
          <p:cNvSpPr>
            <a:spLocks noGrp="1"/>
          </p:cNvSpPr>
          <p:nvPr>
            <p:ph type="body" sz="quarter" idx="12" hasCustomPrompt="1"/>
          </p:nvPr>
        </p:nvSpPr>
        <p:spPr>
          <a:xfrm>
            <a:off x="838800" y="1022400"/>
            <a:ext cx="10441975" cy="1508414"/>
          </a:xfrm>
          <a:prstGeom prst="rect">
            <a:avLst/>
          </a:prstGeom>
        </p:spPr>
        <p:txBody>
          <a:bodyPr anchor="t" anchorCtr="0"/>
          <a:lstStyle>
            <a:lvl1pPr marL="0" marR="0" indent="0" algn="l" defTabSz="914400" rtl="0" eaLnBrk="1" fontAlgn="auto" latinLnBrk="0" hangingPunct="1">
              <a:lnSpc>
                <a:spcPct val="90000"/>
              </a:lnSpc>
              <a:spcBef>
                <a:spcPct val="0"/>
              </a:spcBef>
              <a:spcAft>
                <a:spcPts val="0"/>
              </a:spcAft>
              <a:buClrTx/>
              <a:buSzTx/>
              <a:buFontTx/>
              <a:buNone/>
              <a:tabLst/>
              <a:defRPr lang="fr-FR" sz="2800" b="1" kern="1200" cap="none" spc="0" baseline="0" dirty="0">
                <a:solidFill>
                  <a:schemeClr val="tx2"/>
                </a:solidFill>
                <a:latin typeface="Arial" panose="020B0604020202020204" pitchFamily="34" charset="0"/>
                <a:ea typeface="Arial" charset="0"/>
                <a:cs typeface="Arial" panose="020B0604020202020204" pitchFamily="34" charset="0"/>
              </a:defRPr>
            </a:lvl1pPr>
          </a:lstStyle>
          <a:p>
            <a:pPr lvl="0"/>
            <a:r>
              <a:rPr lang="fr-FR" sz="2800">
                <a:solidFill>
                  <a:schemeClr val="tx1"/>
                </a:solidFill>
                <a:latin typeface="Arial" panose="020B0604020202020204" pitchFamily="34" charset="0"/>
                <a:cs typeface="Arial" panose="020B0604020202020204" pitchFamily="34" charset="0"/>
              </a:rPr>
              <a:t>1.1 </a:t>
            </a:r>
            <a:r>
              <a:rPr lang="fr-FR"/>
              <a:t>Sous-titre</a:t>
            </a:r>
            <a:endParaRPr lang="fr-FR" dirty="0"/>
          </a:p>
        </p:txBody>
      </p:sp>
      <p:sp>
        <p:nvSpPr>
          <p:cNvPr id="2" name="Espace réservé du pied de page 1">
            <a:extLst>
              <a:ext uri="{FF2B5EF4-FFF2-40B4-BE49-F238E27FC236}">
                <a16:creationId xmlns:a16="http://schemas.microsoft.com/office/drawing/2014/main" id="{090ECECF-F8EE-472F-AAAC-77516672C0AA}"/>
              </a:ext>
            </a:extLst>
          </p:cNvPr>
          <p:cNvSpPr>
            <a:spLocks noGrp="1"/>
          </p:cNvSpPr>
          <p:nvPr>
            <p:ph type="ftr" sz="quarter" idx="13"/>
          </p:nvPr>
        </p:nvSpPr>
        <p:spPr/>
        <p:txBody>
          <a:bodyPr/>
          <a:lstStyle/>
          <a:p>
            <a:endParaRPr lang="fr-FR"/>
          </a:p>
        </p:txBody>
      </p:sp>
      <p:sp>
        <p:nvSpPr>
          <p:cNvPr id="3" name="Espace réservé du numéro de diapositive 2">
            <a:extLst>
              <a:ext uri="{FF2B5EF4-FFF2-40B4-BE49-F238E27FC236}">
                <a16:creationId xmlns:a16="http://schemas.microsoft.com/office/drawing/2014/main" id="{35EB5593-5AB2-4459-A5A0-245869585A7E}"/>
              </a:ext>
            </a:extLst>
          </p:cNvPr>
          <p:cNvSpPr>
            <a:spLocks noGrp="1"/>
          </p:cNvSpPr>
          <p:nvPr>
            <p:ph type="sldNum" sz="quarter" idx="14"/>
          </p:nvPr>
        </p:nvSpPr>
        <p:spPr/>
        <p:txBody>
          <a:bodyPr/>
          <a:lstStyle/>
          <a:p>
            <a:fld id="{A5C7A32D-1116-4AE8-97EF-D42A2B21677D}" type="slidenum">
              <a:rPr lang="fr-FR" smtClean="0"/>
              <a:t>‹#›</a:t>
            </a:fld>
            <a:endParaRPr lang="fr-FR"/>
          </a:p>
        </p:txBody>
      </p:sp>
      <p:sp>
        <p:nvSpPr>
          <p:cNvPr id="6" name="Titre 5">
            <a:extLst>
              <a:ext uri="{FF2B5EF4-FFF2-40B4-BE49-F238E27FC236}">
                <a16:creationId xmlns:a16="http://schemas.microsoft.com/office/drawing/2014/main" id="{8660AA14-17CC-44B4-8530-F53B98A1819A}"/>
              </a:ext>
            </a:extLst>
          </p:cNvPr>
          <p:cNvSpPr>
            <a:spLocks noGrp="1"/>
          </p:cNvSpPr>
          <p:nvPr>
            <p:ph type="title" hasCustomPrompt="1"/>
          </p:nvPr>
        </p:nvSpPr>
        <p:spPr/>
        <p:txBody>
          <a:bodyPr/>
          <a:lstStyle>
            <a:lvl1pPr>
              <a:defRPr/>
            </a:lvl1pPr>
          </a:lstStyle>
          <a:p>
            <a:r>
              <a:rPr lang="fr-FR"/>
              <a:t>Titre chapitre </a:t>
            </a:r>
          </a:p>
        </p:txBody>
      </p:sp>
    </p:spTree>
    <p:extLst>
      <p:ext uri="{BB962C8B-B14F-4D97-AF65-F5344CB8AC3E}">
        <p14:creationId xmlns:p14="http://schemas.microsoft.com/office/powerpoint/2010/main" val="36049016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re et contenu 1">
    <p:spTree>
      <p:nvGrpSpPr>
        <p:cNvPr id="1" name=""/>
        <p:cNvGrpSpPr/>
        <p:nvPr/>
      </p:nvGrpSpPr>
      <p:grpSpPr>
        <a:xfrm>
          <a:off x="0" y="0"/>
          <a:ext cx="0" cy="0"/>
          <a:chOff x="0" y="0"/>
          <a:chExt cx="0" cy="0"/>
        </a:xfrm>
      </p:grpSpPr>
      <p:sp>
        <p:nvSpPr>
          <p:cNvPr id="9" name="Espace réservé du pied de page 8">
            <a:extLst>
              <a:ext uri="{FF2B5EF4-FFF2-40B4-BE49-F238E27FC236}">
                <a16:creationId xmlns:a16="http://schemas.microsoft.com/office/drawing/2014/main" id="{EA13E3DF-15F4-4B75-83F6-023D046F2F55}"/>
              </a:ext>
            </a:extLst>
          </p:cNvPr>
          <p:cNvSpPr>
            <a:spLocks noGrp="1"/>
          </p:cNvSpPr>
          <p:nvPr>
            <p:ph type="ftr" sz="quarter" idx="10"/>
          </p:nvPr>
        </p:nvSpPr>
        <p:spPr/>
        <p:txBody>
          <a:bodyPr/>
          <a:lstStyle/>
          <a:p>
            <a:endParaRPr lang="fr-FR"/>
          </a:p>
        </p:txBody>
      </p:sp>
      <p:sp>
        <p:nvSpPr>
          <p:cNvPr id="10" name="Espace réservé du numéro de diapositive 9">
            <a:extLst>
              <a:ext uri="{FF2B5EF4-FFF2-40B4-BE49-F238E27FC236}">
                <a16:creationId xmlns:a16="http://schemas.microsoft.com/office/drawing/2014/main" id="{32C03E7B-CBCE-47FD-95FB-2D4D91E2CF0B}"/>
              </a:ext>
            </a:extLst>
          </p:cNvPr>
          <p:cNvSpPr>
            <a:spLocks noGrp="1"/>
          </p:cNvSpPr>
          <p:nvPr>
            <p:ph type="sldNum" sz="quarter" idx="11"/>
          </p:nvPr>
        </p:nvSpPr>
        <p:spPr/>
        <p:txBody>
          <a:bodyPr/>
          <a:lstStyle/>
          <a:p>
            <a:fld id="{A5C7A32D-1116-4AE8-97EF-D42A2B21677D}" type="slidenum">
              <a:rPr lang="fr-FR" smtClean="0"/>
              <a:t>‹#›</a:t>
            </a:fld>
            <a:endParaRPr lang="fr-FR"/>
          </a:p>
        </p:txBody>
      </p:sp>
      <p:sp>
        <p:nvSpPr>
          <p:cNvPr id="13" name="Espace réservé du texte 12">
            <a:extLst>
              <a:ext uri="{FF2B5EF4-FFF2-40B4-BE49-F238E27FC236}">
                <a16:creationId xmlns:a16="http://schemas.microsoft.com/office/drawing/2014/main" id="{994F548F-A399-4411-B9BF-BDBAA7AE4B55}"/>
              </a:ext>
            </a:extLst>
          </p:cNvPr>
          <p:cNvSpPr>
            <a:spLocks noGrp="1"/>
          </p:cNvSpPr>
          <p:nvPr>
            <p:ph type="body" sz="quarter" idx="12" hasCustomPrompt="1"/>
          </p:nvPr>
        </p:nvSpPr>
        <p:spPr>
          <a:xfrm>
            <a:off x="839787" y="1008000"/>
            <a:ext cx="10440987" cy="4999100"/>
          </a:xfrm>
        </p:spPr>
        <p:txBody>
          <a:bodyPr/>
          <a:lstStyle>
            <a:lvl1pPr>
              <a:defRPr/>
            </a:lvl1pPr>
            <a:lvl2pPr>
              <a:defRPr/>
            </a:lvl2pPr>
            <a:lvl3pPr>
              <a:defRPr/>
            </a:lvl3pPr>
            <a:lvl4pPr>
              <a:defRPr/>
            </a:lvl4pPr>
          </a:lstStyle>
          <a:p>
            <a:pPr lvl="0"/>
            <a:r>
              <a:rPr lang="fr-FR"/>
              <a:t>Sous-titre (premeir niveau)</a:t>
            </a:r>
          </a:p>
          <a:p>
            <a:pPr lvl="1"/>
            <a:r>
              <a:rPr lang="fr-FR"/>
              <a:t>Rubrique (deuxième niveau)</a:t>
            </a:r>
          </a:p>
          <a:p>
            <a:pPr lvl="2"/>
            <a:r>
              <a:rPr lang="fr-FR"/>
              <a:t>Item (troisième niveau)</a:t>
            </a:r>
          </a:p>
          <a:p>
            <a:pPr lvl="3"/>
            <a:r>
              <a:rPr lang="fr-FR"/>
              <a:t>Contenu (quatrième niveau)</a:t>
            </a:r>
          </a:p>
        </p:txBody>
      </p:sp>
      <p:sp>
        <p:nvSpPr>
          <p:cNvPr id="7" name="Titre 5">
            <a:extLst>
              <a:ext uri="{FF2B5EF4-FFF2-40B4-BE49-F238E27FC236}">
                <a16:creationId xmlns:a16="http://schemas.microsoft.com/office/drawing/2014/main" id="{25FC0EDE-30E2-4F5A-B08C-8D79B82BB578}"/>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16179931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re Violet">
    <p:bg>
      <p:bgPr>
        <a:solidFill>
          <a:schemeClr val="bg2"/>
        </a:solidFill>
        <a:effectLst/>
      </p:bgPr>
    </p:bg>
    <p:spTree>
      <p:nvGrpSpPr>
        <p:cNvPr id="1" name=""/>
        <p:cNvGrpSpPr/>
        <p:nvPr/>
      </p:nvGrpSpPr>
      <p:grpSpPr>
        <a:xfrm>
          <a:off x="0" y="0"/>
          <a:ext cx="0" cy="0"/>
          <a:chOff x="0" y="0"/>
          <a:chExt cx="0" cy="0"/>
        </a:xfrm>
      </p:grpSpPr>
      <p:sp>
        <p:nvSpPr>
          <p:cNvPr id="22"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dirty="0">
              <a:solidFill>
                <a:schemeClr val="tx1"/>
              </a:solidFill>
              <a:latin typeface="Arial" panose="020B0604020202020204" pitchFamily="34" charset="0"/>
              <a:cs typeface="Arial" panose="020B0604020202020204" pitchFamily="34" charset="0"/>
            </a:endParaRPr>
          </a:p>
        </p:txBody>
      </p:sp>
      <p:sp>
        <p:nvSpPr>
          <p:cNvPr id="6" name="Espace réservé du texte 12">
            <a:extLst>
              <a:ext uri="{FF2B5EF4-FFF2-40B4-BE49-F238E27FC236}">
                <a16:creationId xmlns:a16="http://schemas.microsoft.com/office/drawing/2014/main" id="{52B1AC74-424E-4978-A5B4-EF39545E59DF}"/>
              </a:ext>
            </a:extLst>
          </p:cNvPr>
          <p:cNvSpPr>
            <a:spLocks noGrp="1"/>
          </p:cNvSpPr>
          <p:nvPr>
            <p:ph type="body" sz="quarter" idx="11" hasCustomPrompt="1"/>
          </p:nvPr>
        </p:nvSpPr>
        <p:spPr>
          <a:xfrm>
            <a:off x="1135373" y="3700890"/>
            <a:ext cx="2299325" cy="312478"/>
          </a:xfrm>
          <a:prstGeom prst="rect">
            <a:avLst/>
          </a:prstGeom>
          <a:solidFill>
            <a:schemeClr val="bg1"/>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
        <p:nvSpPr>
          <p:cNvPr id="7" name="Titre 1">
            <a:extLst>
              <a:ext uri="{FF2B5EF4-FFF2-40B4-BE49-F238E27FC236}">
                <a16:creationId xmlns:a16="http://schemas.microsoft.com/office/drawing/2014/main" id="{270B4347-3ACE-40C7-A56B-D0FBDC961001}"/>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8" name="Espace réservé du texte 12">
            <a:extLst>
              <a:ext uri="{FF2B5EF4-FFF2-40B4-BE49-F238E27FC236}">
                <a16:creationId xmlns:a16="http://schemas.microsoft.com/office/drawing/2014/main" id="{D26847B3-D800-48D1-A2E1-E725CEF86836}"/>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Tree>
    <p:extLst>
      <p:ext uri="{BB962C8B-B14F-4D97-AF65-F5344CB8AC3E}">
        <p14:creationId xmlns:p14="http://schemas.microsoft.com/office/powerpoint/2010/main" val="949081912"/>
      </p:ext>
    </p:extLst>
  </p:cSld>
  <p:clrMapOvr>
    <a:overrideClrMapping bg1="dk1" tx1="lt1" bg2="dk2" tx2="lt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re et contenu 2">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60D8EFD0-DD87-44F2-90BC-CD4BF9ED5B24}"/>
              </a:ext>
            </a:extLst>
          </p:cNvPr>
          <p:cNvSpPr>
            <a:spLocks noGrp="1"/>
          </p:cNvSpPr>
          <p:nvPr>
            <p:ph type="ftr" sz="quarter" idx="16"/>
          </p:nvPr>
        </p:nvSpPr>
        <p:spPr/>
        <p:txBody>
          <a:bodyPr/>
          <a:lstStyle/>
          <a:p>
            <a:endParaRPr lang="fr-FR"/>
          </a:p>
        </p:txBody>
      </p:sp>
      <p:sp>
        <p:nvSpPr>
          <p:cNvPr id="5" name="Espace réservé du numéro de diapositive 4">
            <a:extLst>
              <a:ext uri="{FF2B5EF4-FFF2-40B4-BE49-F238E27FC236}">
                <a16:creationId xmlns:a16="http://schemas.microsoft.com/office/drawing/2014/main" id="{F318DA38-E683-43E9-9656-D018CD605BE7}"/>
              </a:ext>
            </a:extLst>
          </p:cNvPr>
          <p:cNvSpPr>
            <a:spLocks noGrp="1"/>
          </p:cNvSpPr>
          <p:nvPr>
            <p:ph type="sldNum" sz="quarter" idx="17"/>
          </p:nvPr>
        </p:nvSpPr>
        <p:spPr/>
        <p:txBody>
          <a:bodyPr/>
          <a:lstStyle/>
          <a:p>
            <a:fld id="{A5C7A32D-1116-4AE8-97EF-D42A2B21677D}" type="slidenum">
              <a:rPr lang="fr-FR" smtClean="0"/>
              <a:t>‹#›</a:t>
            </a:fld>
            <a:endParaRPr lang="fr-FR"/>
          </a:p>
        </p:txBody>
      </p:sp>
      <p:sp>
        <p:nvSpPr>
          <p:cNvPr id="7" name="Titre 5">
            <a:extLst>
              <a:ext uri="{FF2B5EF4-FFF2-40B4-BE49-F238E27FC236}">
                <a16:creationId xmlns:a16="http://schemas.microsoft.com/office/drawing/2014/main" id="{196E6E0A-156A-4841-A350-BE191FCF2027}"/>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
        <p:nvSpPr>
          <p:cNvPr id="8" name="Espace réservé du texte 12">
            <a:extLst>
              <a:ext uri="{FF2B5EF4-FFF2-40B4-BE49-F238E27FC236}">
                <a16:creationId xmlns:a16="http://schemas.microsoft.com/office/drawing/2014/main" id="{965367BF-2907-4F13-AEC8-A36F6E32C4F7}"/>
              </a:ext>
            </a:extLst>
          </p:cNvPr>
          <p:cNvSpPr>
            <a:spLocks noGrp="1"/>
          </p:cNvSpPr>
          <p:nvPr>
            <p:ph type="body" sz="quarter" idx="19" hasCustomPrompt="1"/>
          </p:nvPr>
        </p:nvSpPr>
        <p:spPr>
          <a:xfrm>
            <a:off x="839787" y="1008000"/>
            <a:ext cx="5038499" cy="4999100"/>
          </a:xfrm>
        </p:spPr>
        <p:txBody>
          <a:bodyPr/>
          <a:lstStyle>
            <a:lvl1pPr>
              <a:defRPr/>
            </a:lvl1pPr>
            <a:lvl2pPr>
              <a:defRPr/>
            </a:lvl2pPr>
            <a:lvl3pPr>
              <a:defRPr/>
            </a:lvl3pPr>
            <a:lvl4pPr>
              <a:defRPr/>
            </a:lvl4pPr>
          </a:lstStyle>
          <a:p>
            <a:pPr lvl="0"/>
            <a:r>
              <a:rPr lang="fr-FR"/>
              <a:t>Sous-titre (premeir niveau)</a:t>
            </a:r>
          </a:p>
          <a:p>
            <a:pPr lvl="1"/>
            <a:r>
              <a:rPr lang="fr-FR"/>
              <a:t>Rubrique (deuxième niveau)</a:t>
            </a:r>
          </a:p>
          <a:p>
            <a:pPr lvl="2"/>
            <a:r>
              <a:rPr lang="fr-FR"/>
              <a:t>Item (troisième niveau)</a:t>
            </a:r>
          </a:p>
          <a:p>
            <a:pPr lvl="3"/>
            <a:r>
              <a:rPr lang="fr-FR"/>
              <a:t>Contenu (quatrième niveau)</a:t>
            </a:r>
          </a:p>
        </p:txBody>
      </p:sp>
      <p:sp>
        <p:nvSpPr>
          <p:cNvPr id="9" name="Espace réservé du texte 12">
            <a:extLst>
              <a:ext uri="{FF2B5EF4-FFF2-40B4-BE49-F238E27FC236}">
                <a16:creationId xmlns:a16="http://schemas.microsoft.com/office/drawing/2014/main" id="{ECAAD123-C781-451D-88A4-AC5B03044E7C}"/>
              </a:ext>
            </a:extLst>
          </p:cNvPr>
          <p:cNvSpPr>
            <a:spLocks noGrp="1"/>
          </p:cNvSpPr>
          <p:nvPr>
            <p:ph type="body" sz="quarter" idx="20" hasCustomPrompt="1"/>
          </p:nvPr>
        </p:nvSpPr>
        <p:spPr>
          <a:xfrm>
            <a:off x="6242276" y="1008000"/>
            <a:ext cx="5038499" cy="4999100"/>
          </a:xfrm>
        </p:spPr>
        <p:txBody>
          <a:bodyPr/>
          <a:lstStyle>
            <a:lvl1pPr>
              <a:defRPr/>
            </a:lvl1pPr>
            <a:lvl2pPr>
              <a:defRPr/>
            </a:lvl2pPr>
            <a:lvl3pPr>
              <a:defRPr/>
            </a:lvl3pPr>
            <a:lvl4pPr>
              <a:defRPr/>
            </a:lvl4pPr>
          </a:lstStyle>
          <a:p>
            <a:pPr lvl="0"/>
            <a:r>
              <a:rPr lang="fr-FR"/>
              <a:t>Sous-titre (premeir niveau)</a:t>
            </a:r>
          </a:p>
          <a:p>
            <a:pPr lvl="1"/>
            <a:r>
              <a:rPr lang="fr-FR"/>
              <a:t>Rubrique (deuxième niveau)</a:t>
            </a:r>
          </a:p>
          <a:p>
            <a:pPr lvl="2"/>
            <a:r>
              <a:rPr lang="fr-FR"/>
              <a:t>Item (troisième niveau)</a:t>
            </a:r>
          </a:p>
          <a:p>
            <a:pPr lvl="3"/>
            <a:r>
              <a:rPr lang="fr-FR"/>
              <a:t>Contenu (quatrième niveau)</a:t>
            </a:r>
          </a:p>
        </p:txBody>
      </p:sp>
    </p:spTree>
    <p:extLst>
      <p:ext uri="{BB962C8B-B14F-4D97-AF65-F5344CB8AC3E}">
        <p14:creationId xmlns:p14="http://schemas.microsoft.com/office/powerpoint/2010/main" val="3402244219"/>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re et contenu 3">
    <p:spTree>
      <p:nvGrpSpPr>
        <p:cNvPr id="1" name=""/>
        <p:cNvGrpSpPr/>
        <p:nvPr/>
      </p:nvGrpSpPr>
      <p:grpSpPr>
        <a:xfrm>
          <a:off x="0" y="0"/>
          <a:ext cx="0" cy="0"/>
          <a:chOff x="0" y="0"/>
          <a:chExt cx="0" cy="0"/>
        </a:xfrm>
      </p:grpSpPr>
      <p:sp>
        <p:nvSpPr>
          <p:cNvPr id="16" name="Espace réservé du texte 5">
            <a:extLst>
              <a:ext uri="{FF2B5EF4-FFF2-40B4-BE49-F238E27FC236}">
                <a16:creationId xmlns:a16="http://schemas.microsoft.com/office/drawing/2014/main" id="{A988C761-4C7D-423A-B1FF-7DBEE783B938}"/>
              </a:ext>
            </a:extLst>
          </p:cNvPr>
          <p:cNvSpPr>
            <a:spLocks noGrp="1"/>
          </p:cNvSpPr>
          <p:nvPr>
            <p:ph type="body" sz="quarter" idx="12" hasCustomPrompt="1"/>
          </p:nvPr>
        </p:nvSpPr>
        <p:spPr>
          <a:xfrm>
            <a:off x="839788" y="978413"/>
            <a:ext cx="10440987" cy="485268"/>
          </a:xfrm>
          <a:prstGeom prst="rect">
            <a:avLst/>
          </a:prstGeom>
        </p:spPr>
        <p:txBody>
          <a:bodyPr anchor="ctr"/>
          <a:lstStyle>
            <a:lvl1pPr marL="0" indent="0" algn="l" defTabSz="914400" rtl="0" eaLnBrk="1" latinLnBrk="0" hangingPunct="1">
              <a:lnSpc>
                <a:spcPct val="90000"/>
              </a:lnSpc>
              <a:spcBef>
                <a:spcPct val="0"/>
              </a:spcBef>
              <a:buFontTx/>
              <a:buNone/>
              <a:defRPr lang="fr-FR" sz="2800" b="1" kern="1200" cap="none" spc="0" baseline="0" dirty="0">
                <a:solidFill>
                  <a:schemeClr val="tx1"/>
                </a:solidFill>
                <a:latin typeface="Arial" panose="020B0604020202020204" pitchFamily="34" charset="0"/>
                <a:ea typeface="Arial" charset="0"/>
                <a:cs typeface="Arial" panose="020B0604020202020204" pitchFamily="34" charset="0"/>
              </a:defRPr>
            </a:lvl1pPr>
          </a:lstStyle>
          <a:p>
            <a:pPr lvl="0"/>
            <a:r>
              <a:rPr lang="fr-FR" sz="2800">
                <a:solidFill>
                  <a:schemeClr val="tx1"/>
                </a:solidFill>
                <a:latin typeface="Arial" panose="020B0604020202020204" pitchFamily="34" charset="0"/>
                <a:cs typeface="Arial" panose="020B0604020202020204" pitchFamily="34" charset="0"/>
              </a:rPr>
              <a:t>1.1 </a:t>
            </a:r>
            <a:r>
              <a:rPr lang="fr-FR"/>
              <a:t>Sous-titre </a:t>
            </a:r>
            <a:r>
              <a:rPr lang="fr-FR" dirty="0"/>
              <a:t>(</a:t>
            </a:r>
            <a:r>
              <a:rPr lang="fr-FR"/>
              <a:t>1 ligne</a:t>
            </a:r>
            <a:r>
              <a:rPr lang="fr-FR" dirty="0"/>
              <a:t>)</a:t>
            </a:r>
          </a:p>
        </p:txBody>
      </p:sp>
      <p:sp>
        <p:nvSpPr>
          <p:cNvPr id="2" name="Espace réservé du pied de page 1">
            <a:extLst>
              <a:ext uri="{FF2B5EF4-FFF2-40B4-BE49-F238E27FC236}">
                <a16:creationId xmlns:a16="http://schemas.microsoft.com/office/drawing/2014/main" id="{B3966CBE-AEA8-4050-8067-1B4E5EE195CF}"/>
              </a:ext>
            </a:extLst>
          </p:cNvPr>
          <p:cNvSpPr>
            <a:spLocks noGrp="1"/>
          </p:cNvSpPr>
          <p:nvPr>
            <p:ph type="ftr" sz="quarter" idx="13"/>
          </p:nvPr>
        </p:nvSpPr>
        <p:spPr/>
        <p:txBody>
          <a:bodyPr/>
          <a:lstStyle/>
          <a:p>
            <a:endParaRPr lang="fr-FR"/>
          </a:p>
        </p:txBody>
      </p:sp>
      <p:sp>
        <p:nvSpPr>
          <p:cNvPr id="3" name="Espace réservé du numéro de diapositive 2">
            <a:extLst>
              <a:ext uri="{FF2B5EF4-FFF2-40B4-BE49-F238E27FC236}">
                <a16:creationId xmlns:a16="http://schemas.microsoft.com/office/drawing/2014/main" id="{B1922039-7D6E-4924-99A6-A50FE142D698}"/>
              </a:ext>
            </a:extLst>
          </p:cNvPr>
          <p:cNvSpPr>
            <a:spLocks noGrp="1"/>
          </p:cNvSpPr>
          <p:nvPr>
            <p:ph type="sldNum" sz="quarter" idx="14"/>
          </p:nvPr>
        </p:nvSpPr>
        <p:spPr/>
        <p:txBody>
          <a:bodyPr/>
          <a:lstStyle/>
          <a:p>
            <a:fld id="{A5C7A32D-1116-4AE8-97EF-D42A2B21677D}" type="slidenum">
              <a:rPr lang="fr-FR" smtClean="0"/>
              <a:t>‹#›</a:t>
            </a:fld>
            <a:endParaRPr lang="fr-FR"/>
          </a:p>
        </p:txBody>
      </p:sp>
      <p:sp>
        <p:nvSpPr>
          <p:cNvPr id="6" name="Espace réservé du texte 5">
            <a:extLst>
              <a:ext uri="{FF2B5EF4-FFF2-40B4-BE49-F238E27FC236}">
                <a16:creationId xmlns:a16="http://schemas.microsoft.com/office/drawing/2014/main" id="{B6A90E34-218B-44F8-B3EE-12D9E53297FE}"/>
              </a:ext>
            </a:extLst>
          </p:cNvPr>
          <p:cNvSpPr>
            <a:spLocks noGrp="1"/>
          </p:cNvSpPr>
          <p:nvPr>
            <p:ph type="body" sz="quarter" idx="15" hasCustomPrompt="1"/>
          </p:nvPr>
        </p:nvSpPr>
        <p:spPr>
          <a:xfrm>
            <a:off x="1511300" y="1864859"/>
            <a:ext cx="9769475" cy="2774182"/>
          </a:xfrm>
        </p:spPr>
        <p:txBody>
          <a:bodyPr/>
          <a:lstStyle>
            <a:lvl1pPr marL="0" indent="0">
              <a:lnSpc>
                <a:spcPct val="150000"/>
              </a:lnSpc>
              <a:buFont typeface="Arial" panose="020B0604020202020204" pitchFamily="34" charset="0"/>
              <a:buNone/>
              <a:defRPr sz="2000" b="0"/>
            </a:lvl1pPr>
          </a:lstStyle>
          <a:p>
            <a:pPr lvl="0"/>
            <a:r>
              <a:rPr lang="fr-FR"/>
              <a:t>Texte</a:t>
            </a:r>
          </a:p>
        </p:txBody>
      </p:sp>
      <p:sp>
        <p:nvSpPr>
          <p:cNvPr id="7" name="Titre 5">
            <a:extLst>
              <a:ext uri="{FF2B5EF4-FFF2-40B4-BE49-F238E27FC236}">
                <a16:creationId xmlns:a16="http://schemas.microsoft.com/office/drawing/2014/main" id="{1C2B61A0-D5D7-455B-96D4-0AC93A906D05}"/>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18847446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Image à gauche">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27140DB9-FE55-48AF-9A04-12DB92D7CDC4}"/>
              </a:ext>
            </a:extLst>
          </p:cNvPr>
          <p:cNvSpPr>
            <a:spLocks noGrp="1" noChangeAspect="1"/>
          </p:cNvSpPr>
          <p:nvPr>
            <p:ph type="pic" sz="quarter" idx="14" hasCustomPrompt="1"/>
          </p:nvPr>
        </p:nvSpPr>
        <p:spPr>
          <a:xfrm>
            <a:off x="3" y="0"/>
            <a:ext cx="5268458" cy="6858000"/>
          </a:xfrm>
          <a:prstGeom prst="rect">
            <a:avLst/>
          </a:prstGeom>
        </p:spPr>
        <p:txBody>
          <a:bodyPr tIns="2304000" anchor="t" anchorCtr="0">
            <a:noAutofit/>
          </a:bodyPr>
          <a:lstStyle>
            <a:lvl1pPr marL="0" indent="0" algn="ctr">
              <a:buNone/>
              <a:defRPr b="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r>
              <a:rPr lang="fr-FR" dirty="0"/>
              <a:t>Cliquez sur l’icône ci-dessous </a:t>
            </a:r>
            <a:br>
              <a:rPr lang="fr-FR" dirty="0"/>
            </a:br>
            <a:r>
              <a:rPr lang="fr-FR" dirty="0"/>
              <a:t>pour insérer une image</a:t>
            </a:r>
          </a:p>
        </p:txBody>
      </p:sp>
      <p:sp>
        <p:nvSpPr>
          <p:cNvPr id="12"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5623484" y="1398522"/>
            <a:ext cx="5657291" cy="1495794"/>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a:t>Titre (3 lignes max)</a:t>
            </a:r>
          </a:p>
        </p:txBody>
      </p:sp>
      <p:sp>
        <p:nvSpPr>
          <p:cNvPr id="13" name="Espace réservé du texte 5">
            <a:extLst>
              <a:ext uri="{FF2B5EF4-FFF2-40B4-BE49-F238E27FC236}">
                <a16:creationId xmlns:a16="http://schemas.microsoft.com/office/drawing/2014/main" id="{CF16E1CB-4175-4B50-B70E-76C58215F7A4}"/>
              </a:ext>
            </a:extLst>
          </p:cNvPr>
          <p:cNvSpPr>
            <a:spLocks noGrp="1"/>
          </p:cNvSpPr>
          <p:nvPr>
            <p:ph type="body" sz="quarter" idx="12" hasCustomPrompt="1"/>
          </p:nvPr>
        </p:nvSpPr>
        <p:spPr>
          <a:xfrm>
            <a:off x="5636736" y="3083214"/>
            <a:ext cx="5657291" cy="387798"/>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Sous-titre (1 ligne)</a:t>
            </a:r>
          </a:p>
        </p:txBody>
      </p:sp>
      <p:sp>
        <p:nvSpPr>
          <p:cNvPr id="3" name="Espace réservé du texte 2">
            <a:extLst>
              <a:ext uri="{FF2B5EF4-FFF2-40B4-BE49-F238E27FC236}">
                <a16:creationId xmlns:a16="http://schemas.microsoft.com/office/drawing/2014/main" id="{34704A89-865E-40EA-BCD5-78C5D720B1CD}"/>
              </a:ext>
            </a:extLst>
          </p:cNvPr>
          <p:cNvSpPr>
            <a:spLocks noGrp="1"/>
          </p:cNvSpPr>
          <p:nvPr>
            <p:ph type="body" sz="quarter" idx="15" hasCustomPrompt="1"/>
          </p:nvPr>
        </p:nvSpPr>
        <p:spPr>
          <a:xfrm>
            <a:off x="5622925" y="3710215"/>
            <a:ext cx="5657850" cy="1809750"/>
          </a:xfrm>
        </p:spPr>
        <p:txBody>
          <a:bodyPr/>
          <a:lstStyle>
            <a:lvl1pPr marL="0" indent="0">
              <a:lnSpc>
                <a:spcPct val="150000"/>
              </a:lnSpc>
              <a:spcBef>
                <a:spcPts val="0"/>
              </a:spcBef>
              <a:buNone/>
              <a:defRPr sz="2000" b="0">
                <a:solidFill>
                  <a:schemeClr val="tx2"/>
                </a:solidFill>
              </a:defRPr>
            </a:lvl1pPr>
          </a:lstStyle>
          <a:p>
            <a:pPr lvl="0"/>
            <a:r>
              <a:rPr lang="fr-FR" dirty="0"/>
              <a:t>Texte complémentaire</a:t>
            </a:r>
          </a:p>
        </p:txBody>
      </p:sp>
      <p:sp>
        <p:nvSpPr>
          <p:cNvPr id="5" name="Espace réservé du numéro de diapositive 4">
            <a:extLst>
              <a:ext uri="{FF2B5EF4-FFF2-40B4-BE49-F238E27FC236}">
                <a16:creationId xmlns:a16="http://schemas.microsoft.com/office/drawing/2014/main" id="{D40CC3A4-C275-45F8-AB86-82A4A9B43C29}"/>
              </a:ext>
            </a:extLst>
          </p:cNvPr>
          <p:cNvSpPr>
            <a:spLocks noGrp="1"/>
          </p:cNvSpPr>
          <p:nvPr>
            <p:ph type="sldNum" sz="quarter" idx="17"/>
          </p:nvPr>
        </p:nvSpPr>
        <p:spPr/>
        <p:txBody>
          <a:bodyPr/>
          <a:lstStyle/>
          <a:p>
            <a:fld id="{A5C7A32D-1116-4AE8-97EF-D42A2B21677D}" type="slidenum">
              <a:rPr lang="fr-FR" smtClean="0"/>
              <a:t>‹#›</a:t>
            </a:fld>
            <a:endParaRPr lang="fr-FR"/>
          </a:p>
        </p:txBody>
      </p:sp>
    </p:spTree>
    <p:extLst>
      <p:ext uri="{BB962C8B-B14F-4D97-AF65-F5344CB8AC3E}">
        <p14:creationId xmlns:p14="http://schemas.microsoft.com/office/powerpoint/2010/main" val="24413177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re avec bandeau ">
    <p:spTree>
      <p:nvGrpSpPr>
        <p:cNvPr id="1" name=""/>
        <p:cNvGrpSpPr/>
        <p:nvPr/>
      </p:nvGrpSpPr>
      <p:grpSpPr>
        <a:xfrm>
          <a:off x="0" y="0"/>
          <a:ext cx="0" cy="0"/>
          <a:chOff x="0" y="0"/>
          <a:chExt cx="0" cy="0"/>
        </a:xfrm>
      </p:grpSpPr>
      <p:sp>
        <p:nvSpPr>
          <p:cNvPr id="11" name="Rectangle 10"/>
          <p:cNvSpPr/>
          <p:nvPr/>
        </p:nvSpPr>
        <p:spPr>
          <a:xfrm>
            <a:off x="0" y="0"/>
            <a:ext cx="500358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latin typeface="Arial" panose="020B0604020202020204" pitchFamily="34" charset="0"/>
              <a:cs typeface="Arial" panose="020B0604020202020204" pitchFamily="34" charset="0"/>
            </a:endParaRPr>
          </a:p>
        </p:txBody>
      </p:sp>
      <p:sp>
        <p:nvSpPr>
          <p:cNvPr id="14" name="Espace réservé du numéro de diapositive 4">
            <a:extLst>
              <a:ext uri="{FF2B5EF4-FFF2-40B4-BE49-F238E27FC236}">
                <a16:creationId xmlns:a16="http://schemas.microsoft.com/office/drawing/2014/main" id="{4851EEEE-251B-465C-9A44-B3EC2ADCE209}"/>
              </a:ext>
            </a:extLst>
          </p:cNvPr>
          <p:cNvSpPr>
            <a:spLocks noGrp="1"/>
          </p:cNvSpPr>
          <p:nvPr>
            <p:ph type="sldNum" sz="quarter" idx="17"/>
          </p:nvPr>
        </p:nvSpPr>
        <p:spPr>
          <a:xfrm>
            <a:off x="10620375" y="6390938"/>
            <a:ext cx="660400" cy="184666"/>
          </a:xfrm>
        </p:spPr>
        <p:txBody>
          <a:bodyPr/>
          <a:lstStyle/>
          <a:p>
            <a:fld id="{A5C7A32D-1116-4AE8-97EF-D42A2B21677D}" type="slidenum">
              <a:rPr lang="fr-FR" smtClean="0"/>
              <a:t>‹#›</a:t>
            </a:fld>
            <a:endParaRPr lang="fr-FR"/>
          </a:p>
        </p:txBody>
      </p:sp>
      <p:sp>
        <p:nvSpPr>
          <p:cNvPr id="16" name="Espace réservé du texte 5">
            <a:extLst>
              <a:ext uri="{FF2B5EF4-FFF2-40B4-BE49-F238E27FC236}">
                <a16:creationId xmlns:a16="http://schemas.microsoft.com/office/drawing/2014/main" id="{85665673-C441-4E89-8AF2-E736B5FD12B8}"/>
              </a:ext>
            </a:extLst>
          </p:cNvPr>
          <p:cNvSpPr>
            <a:spLocks noGrp="1"/>
          </p:cNvSpPr>
          <p:nvPr>
            <p:ph type="body" sz="quarter" idx="12" hasCustomPrompt="1"/>
          </p:nvPr>
        </p:nvSpPr>
        <p:spPr>
          <a:xfrm>
            <a:off x="5636736" y="3083214"/>
            <a:ext cx="5657291" cy="387798"/>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Sous-titre (1 ligne)</a:t>
            </a:r>
          </a:p>
        </p:txBody>
      </p:sp>
      <p:sp>
        <p:nvSpPr>
          <p:cNvPr id="17" name="Espace réservé du texte 2">
            <a:extLst>
              <a:ext uri="{FF2B5EF4-FFF2-40B4-BE49-F238E27FC236}">
                <a16:creationId xmlns:a16="http://schemas.microsoft.com/office/drawing/2014/main" id="{EBCFE1BB-1DE5-4317-B5D8-DB6D96FB774E}"/>
              </a:ext>
            </a:extLst>
          </p:cNvPr>
          <p:cNvSpPr>
            <a:spLocks noGrp="1"/>
          </p:cNvSpPr>
          <p:nvPr>
            <p:ph type="body" sz="quarter" idx="15" hasCustomPrompt="1"/>
          </p:nvPr>
        </p:nvSpPr>
        <p:spPr>
          <a:xfrm>
            <a:off x="5622925" y="3710215"/>
            <a:ext cx="5657850" cy="1809750"/>
          </a:xfrm>
        </p:spPr>
        <p:txBody>
          <a:bodyPr/>
          <a:lstStyle>
            <a:lvl1pPr marL="0" indent="0">
              <a:lnSpc>
                <a:spcPct val="150000"/>
              </a:lnSpc>
              <a:spcBef>
                <a:spcPts val="0"/>
              </a:spcBef>
              <a:buNone/>
              <a:defRPr sz="2000" b="0">
                <a:solidFill>
                  <a:schemeClr val="tx2"/>
                </a:solidFill>
              </a:defRPr>
            </a:lvl1pPr>
          </a:lstStyle>
          <a:p>
            <a:pPr lvl="0"/>
            <a:r>
              <a:rPr lang="fr-FR" dirty="0"/>
              <a:t>Texte complémentaire</a:t>
            </a:r>
          </a:p>
        </p:txBody>
      </p:sp>
      <p:sp>
        <p:nvSpPr>
          <p:cNvPr id="9" name="Titre 1">
            <a:extLst>
              <a:ext uri="{FF2B5EF4-FFF2-40B4-BE49-F238E27FC236}">
                <a16:creationId xmlns:a16="http://schemas.microsoft.com/office/drawing/2014/main" id="{DC49C064-76C9-41A1-9E59-8A19019F8523}"/>
              </a:ext>
            </a:extLst>
          </p:cNvPr>
          <p:cNvSpPr>
            <a:spLocks noGrp="1"/>
          </p:cNvSpPr>
          <p:nvPr>
            <p:ph type="ctrTitle" hasCustomPrompt="1"/>
          </p:nvPr>
        </p:nvSpPr>
        <p:spPr>
          <a:xfrm>
            <a:off x="5623484" y="1398522"/>
            <a:ext cx="5657291" cy="1495794"/>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a:t>Titre (3 lignes max)</a:t>
            </a:r>
          </a:p>
        </p:txBody>
      </p:sp>
    </p:spTree>
    <p:extLst>
      <p:ext uri="{BB962C8B-B14F-4D97-AF65-F5344CB8AC3E}">
        <p14:creationId xmlns:p14="http://schemas.microsoft.com/office/powerpoint/2010/main" val="25449944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exte sans titre">
    <p:spTree>
      <p:nvGrpSpPr>
        <p:cNvPr id="1" name=""/>
        <p:cNvGrpSpPr/>
        <p:nvPr/>
      </p:nvGrpSpPr>
      <p:grpSpPr>
        <a:xfrm>
          <a:off x="0" y="0"/>
          <a:ext cx="0" cy="0"/>
          <a:chOff x="0" y="0"/>
          <a:chExt cx="0" cy="0"/>
        </a:xfrm>
      </p:grpSpPr>
      <p:sp>
        <p:nvSpPr>
          <p:cNvPr id="4" name="Espace réservé du contenu 9">
            <a:extLst>
              <a:ext uri="{FF2B5EF4-FFF2-40B4-BE49-F238E27FC236}">
                <a16:creationId xmlns:a16="http://schemas.microsoft.com/office/drawing/2014/main" id="{CF8E1BD4-2E9A-4788-88E6-0120D51CBCE0}"/>
              </a:ext>
            </a:extLst>
          </p:cNvPr>
          <p:cNvSpPr>
            <a:spLocks noGrp="1"/>
          </p:cNvSpPr>
          <p:nvPr>
            <p:ph sz="quarter" idx="13" hasCustomPrompt="1"/>
          </p:nvPr>
        </p:nvSpPr>
        <p:spPr>
          <a:xfrm>
            <a:off x="838200" y="1022400"/>
            <a:ext cx="10442576" cy="4996069"/>
          </a:xfrm>
          <a:prstGeom prst="rect">
            <a:avLst/>
          </a:prstGeom>
        </p:spPr>
        <p:txBody>
          <a:bodyPr/>
          <a:lstStyle>
            <a:lvl1pPr marL="0" indent="0">
              <a:buNone/>
              <a:defRPr sz="4400" b="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pPr lvl="0"/>
            <a:r>
              <a:rPr lang="fr-FR"/>
              <a:t>Texte libre ou élément graphique sans titre (cliquer alors sur l’icône ci-dessous)</a:t>
            </a:r>
            <a:endParaRPr lang="fr-FR" dirty="0"/>
          </a:p>
        </p:txBody>
      </p:sp>
      <p:sp>
        <p:nvSpPr>
          <p:cNvPr id="2" name="Espace réservé du pied de page 1">
            <a:extLst>
              <a:ext uri="{FF2B5EF4-FFF2-40B4-BE49-F238E27FC236}">
                <a16:creationId xmlns:a16="http://schemas.microsoft.com/office/drawing/2014/main" id="{CE5B653E-BC7D-489F-B3CE-58D9EB676DA1}"/>
              </a:ext>
            </a:extLst>
          </p:cNvPr>
          <p:cNvSpPr>
            <a:spLocks noGrp="1"/>
          </p:cNvSpPr>
          <p:nvPr>
            <p:ph type="ftr" sz="quarter" idx="14"/>
          </p:nvPr>
        </p:nvSpPr>
        <p:spPr/>
        <p:txBody>
          <a:bodyPr/>
          <a:lstStyle/>
          <a:p>
            <a:endParaRPr lang="fr-FR"/>
          </a:p>
        </p:txBody>
      </p:sp>
      <p:sp>
        <p:nvSpPr>
          <p:cNvPr id="3" name="Espace réservé du numéro de diapositive 2">
            <a:extLst>
              <a:ext uri="{FF2B5EF4-FFF2-40B4-BE49-F238E27FC236}">
                <a16:creationId xmlns:a16="http://schemas.microsoft.com/office/drawing/2014/main" id="{A9A731D0-C3E7-45C9-A87A-611FBCF3688C}"/>
              </a:ext>
            </a:extLst>
          </p:cNvPr>
          <p:cNvSpPr>
            <a:spLocks noGrp="1"/>
          </p:cNvSpPr>
          <p:nvPr>
            <p:ph type="sldNum" sz="quarter" idx="15"/>
          </p:nvPr>
        </p:nvSpPr>
        <p:spPr/>
        <p:txBody>
          <a:bodyPr/>
          <a:lstStyle/>
          <a:p>
            <a:fld id="{A5C7A32D-1116-4AE8-97EF-D42A2B21677D}" type="slidenum">
              <a:rPr lang="fr-FR" smtClean="0"/>
              <a:t>‹#›</a:t>
            </a:fld>
            <a:endParaRPr lang="fr-FR"/>
          </a:p>
        </p:txBody>
      </p:sp>
      <p:sp>
        <p:nvSpPr>
          <p:cNvPr id="6" name="Titre 5">
            <a:extLst>
              <a:ext uri="{FF2B5EF4-FFF2-40B4-BE49-F238E27FC236}">
                <a16:creationId xmlns:a16="http://schemas.microsoft.com/office/drawing/2014/main" id="{CF64C1BA-4AE9-4E7E-AA90-8576B9433128}"/>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163430888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5D7B89DD-B9B2-4C1B-9F0B-588822599809}"/>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9655E634-7523-4740-9664-E11BE6F53CA0}"/>
              </a:ext>
            </a:extLst>
          </p:cNvPr>
          <p:cNvSpPr>
            <a:spLocks noGrp="1"/>
          </p:cNvSpPr>
          <p:nvPr>
            <p:ph type="sldNum" sz="quarter" idx="11"/>
          </p:nvPr>
        </p:nvSpPr>
        <p:spPr/>
        <p:txBody>
          <a:bodyPr/>
          <a:lstStyle/>
          <a:p>
            <a:fld id="{A5C7A32D-1116-4AE8-97EF-D42A2B21677D}" type="slidenum">
              <a:rPr lang="fr-FR" smtClean="0"/>
              <a:t>‹#›</a:t>
            </a:fld>
            <a:endParaRPr lang="fr-FR"/>
          </a:p>
        </p:txBody>
      </p:sp>
      <p:sp>
        <p:nvSpPr>
          <p:cNvPr id="5" name="Titre 5">
            <a:extLst>
              <a:ext uri="{FF2B5EF4-FFF2-40B4-BE49-F238E27FC236}">
                <a16:creationId xmlns:a16="http://schemas.microsoft.com/office/drawing/2014/main" id="{B1818323-5F00-4A01-A64C-B1AC4375C4E9}"/>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42007368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itation fond couleur">
    <p:bg>
      <p:bgPr>
        <a:solidFill>
          <a:schemeClr val="tx1"/>
        </a:solidFill>
        <a:effectLst/>
      </p:bgPr>
    </p:bg>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EB2C212-1B2B-4335-BA30-6DA98C8CDA34}"/>
              </a:ext>
            </a:extLst>
          </p:cNvPr>
          <p:cNvSpPr>
            <a:spLocks noGrp="1"/>
          </p:cNvSpPr>
          <p:nvPr>
            <p:ph type="body" sz="quarter" idx="10" hasCustomPrompt="1"/>
          </p:nvPr>
        </p:nvSpPr>
        <p:spPr>
          <a:xfrm>
            <a:off x="1477509" y="1001938"/>
            <a:ext cx="9803266" cy="4185761"/>
          </a:xfrm>
        </p:spPr>
        <p:txBody>
          <a:bodyPr/>
          <a:lstStyle>
            <a:lvl1pPr marL="0" indent="0">
              <a:lnSpc>
                <a:spcPct val="100000"/>
              </a:lnSpc>
              <a:spcBef>
                <a:spcPts val="0"/>
              </a:spcBef>
              <a:buNone/>
              <a:defRPr sz="3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itation</a:t>
            </a:r>
          </a:p>
        </p:txBody>
      </p:sp>
    </p:spTree>
    <p:extLst>
      <p:ext uri="{BB962C8B-B14F-4D97-AF65-F5344CB8AC3E}">
        <p14:creationId xmlns:p14="http://schemas.microsoft.com/office/powerpoint/2010/main" val="68200907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itation fond blanc">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C50DCE55-0914-418C-838D-74D38308EFDD}"/>
              </a:ext>
            </a:extLst>
          </p:cNvPr>
          <p:cNvSpPr>
            <a:spLocks noEditPoints="1"/>
          </p:cNvSpPr>
          <p:nvPr/>
        </p:nvSpPr>
        <p:spPr bwMode="auto">
          <a:xfrm>
            <a:off x="8623409" y="5943600"/>
            <a:ext cx="2620853" cy="241439"/>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latin typeface="Arial" panose="020B0604020202020204" pitchFamily="34" charset="0"/>
              <a:cs typeface="Arial" panose="020B0604020202020204" pitchFamily="34" charset="0"/>
            </a:endParaRPr>
          </a:p>
        </p:txBody>
      </p:sp>
      <p:sp>
        <p:nvSpPr>
          <p:cNvPr id="4" name="Espace réservé du texte 2">
            <a:extLst>
              <a:ext uri="{FF2B5EF4-FFF2-40B4-BE49-F238E27FC236}">
                <a16:creationId xmlns:a16="http://schemas.microsoft.com/office/drawing/2014/main" id="{E88ACDEA-C11A-4C4F-A94B-BBB7014BA3D2}"/>
              </a:ext>
            </a:extLst>
          </p:cNvPr>
          <p:cNvSpPr>
            <a:spLocks noGrp="1"/>
          </p:cNvSpPr>
          <p:nvPr>
            <p:ph type="body" sz="quarter" idx="10" hasCustomPrompt="1"/>
          </p:nvPr>
        </p:nvSpPr>
        <p:spPr>
          <a:xfrm>
            <a:off x="1477509" y="1001938"/>
            <a:ext cx="9803266" cy="4185761"/>
          </a:xfrm>
        </p:spPr>
        <p:txBody>
          <a:bodyPr/>
          <a:lstStyle>
            <a:lvl1pPr marL="0" indent="0">
              <a:lnSpc>
                <a:spcPct val="100000"/>
              </a:lnSpc>
              <a:spcBef>
                <a:spcPts val="0"/>
              </a:spcBef>
              <a:buNone/>
              <a:defRPr sz="3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itation</a:t>
            </a:r>
          </a:p>
        </p:txBody>
      </p:sp>
    </p:spTree>
    <p:extLst>
      <p:ext uri="{BB962C8B-B14F-4D97-AF65-F5344CB8AC3E}">
        <p14:creationId xmlns:p14="http://schemas.microsoft.com/office/powerpoint/2010/main" val="15977857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F5C6CD-DD7F-4057-BD80-300ACD2B5174}"/>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ED7E6430-05AA-44DE-81D4-B914D6E679C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9448D5E3-CAD4-4368-9265-167F0C4C3FBF}"/>
              </a:ext>
            </a:extLst>
          </p:cNvPr>
          <p:cNvSpPr>
            <a:spLocks noGrp="1"/>
          </p:cNvSpPr>
          <p:nvPr>
            <p:ph type="dt" sz="half" idx="10"/>
          </p:nvPr>
        </p:nvSpPr>
        <p:spPr/>
        <p:txBody>
          <a:bodyPr/>
          <a:lstStyle/>
          <a:p>
            <a:fld id="{6AC45CBA-BF89-4C29-87F8-FD48BB509078}" type="datetimeFigureOut">
              <a:rPr lang="fr-FR" smtClean="0"/>
              <a:t>17/08/2021</a:t>
            </a:fld>
            <a:endParaRPr lang="fr-FR"/>
          </a:p>
        </p:txBody>
      </p:sp>
      <p:sp>
        <p:nvSpPr>
          <p:cNvPr id="5" name="Espace réservé du pied de page 4">
            <a:extLst>
              <a:ext uri="{FF2B5EF4-FFF2-40B4-BE49-F238E27FC236}">
                <a16:creationId xmlns:a16="http://schemas.microsoft.com/office/drawing/2014/main" id="{5F1182E8-16F5-4C68-89C5-5D728E36966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9899FDD-E9F2-4B90-A56A-C31CCF845836}"/>
              </a:ext>
            </a:extLst>
          </p:cNvPr>
          <p:cNvSpPr>
            <a:spLocks noGrp="1"/>
          </p:cNvSpPr>
          <p:nvPr>
            <p:ph type="sldNum" sz="quarter" idx="12"/>
          </p:nvPr>
        </p:nvSpPr>
        <p:spPr/>
        <p:txBody>
          <a:bodyPr/>
          <a:lstStyle/>
          <a:p>
            <a:fld id="{A5C7A32D-1116-4AE8-97EF-D42A2B21677D}" type="slidenum">
              <a:rPr lang="fr-FR" smtClean="0"/>
              <a:t>‹#›</a:t>
            </a:fld>
            <a:endParaRPr lang="fr-FR"/>
          </a:p>
        </p:txBody>
      </p:sp>
    </p:spTree>
    <p:extLst>
      <p:ext uri="{BB962C8B-B14F-4D97-AF65-F5344CB8AC3E}">
        <p14:creationId xmlns:p14="http://schemas.microsoft.com/office/powerpoint/2010/main" val="20614984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8/17/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048494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ommaire Bleu">
    <p:bg>
      <p:bgPr>
        <a:solidFill>
          <a:schemeClr val="tx1"/>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bg1"/>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Tree>
    <p:extLst>
      <p:ext uri="{BB962C8B-B14F-4D97-AF65-F5344CB8AC3E}">
        <p14:creationId xmlns:p14="http://schemas.microsoft.com/office/powerpoint/2010/main" val="318615812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theme" Target="../theme/theme2.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theme" Target="../theme/theme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62.xml"/><Relationship Id="rId1"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16717756-20A8-4D98-A2A9-6E61637B1CFD}"/>
              </a:ext>
            </a:extLst>
          </p:cNvPr>
          <p:cNvSpPr>
            <a:spLocks noGrp="1"/>
          </p:cNvSpPr>
          <p:nvPr>
            <p:ph type="body" idx="1"/>
          </p:nvPr>
        </p:nvSpPr>
        <p:spPr>
          <a:xfrm>
            <a:off x="429904" y="2612571"/>
            <a:ext cx="10923896" cy="3564392"/>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BE" dirty="0"/>
          </a:p>
        </p:txBody>
      </p:sp>
      <p:sp>
        <p:nvSpPr>
          <p:cNvPr id="5" name="Espace réservé du pied de page 4">
            <a:extLst>
              <a:ext uri="{FF2B5EF4-FFF2-40B4-BE49-F238E27FC236}">
                <a16:creationId xmlns:a16="http://schemas.microsoft.com/office/drawing/2014/main" id="{3AD7A24A-9D8D-4239-8349-3E493EE582C0}"/>
              </a:ext>
            </a:extLst>
          </p:cNvPr>
          <p:cNvSpPr>
            <a:spLocks noGrp="1"/>
          </p:cNvSpPr>
          <p:nvPr>
            <p:ph type="ftr" sz="quarter" idx="3"/>
          </p:nvPr>
        </p:nvSpPr>
        <p:spPr>
          <a:xfrm>
            <a:off x="8882742" y="6426200"/>
            <a:ext cx="2688771" cy="243839"/>
          </a:xfrm>
          <a:prstGeom prst="rect">
            <a:avLst/>
          </a:prstGeom>
        </p:spPr>
        <p:txBody>
          <a:bodyPr vert="horz" lIns="91440" tIns="45720" rIns="36000" bIns="45720" rtlCol="0" anchor="ctr"/>
          <a:lstStyle>
            <a:lvl1pPr algn="r">
              <a:defRPr sz="1050">
                <a:solidFill>
                  <a:schemeClr val="tx1"/>
                </a:solidFill>
              </a:defRPr>
            </a:lvl1pPr>
          </a:lstStyle>
          <a:p>
            <a:r>
              <a:rPr lang="en-US" dirty="0"/>
              <a:t>2019 Full-Year Results</a:t>
            </a:r>
          </a:p>
        </p:txBody>
      </p:sp>
      <p:sp>
        <p:nvSpPr>
          <p:cNvPr id="6" name="Espace réservé du numéro de diapositive 5">
            <a:extLst>
              <a:ext uri="{FF2B5EF4-FFF2-40B4-BE49-F238E27FC236}">
                <a16:creationId xmlns:a16="http://schemas.microsoft.com/office/drawing/2014/main" id="{B4E03129-C36C-4180-B9E0-6E9FCD497BBB}"/>
              </a:ext>
            </a:extLst>
          </p:cNvPr>
          <p:cNvSpPr>
            <a:spLocks noGrp="1"/>
          </p:cNvSpPr>
          <p:nvPr>
            <p:ph type="sldNum" sz="quarter" idx="4"/>
          </p:nvPr>
        </p:nvSpPr>
        <p:spPr>
          <a:xfrm>
            <a:off x="11620500" y="6426200"/>
            <a:ext cx="350520" cy="243840"/>
          </a:xfrm>
          <a:prstGeom prst="rect">
            <a:avLst/>
          </a:prstGeom>
        </p:spPr>
        <p:txBody>
          <a:bodyPr vert="horz" wrap="none" lIns="91440" tIns="45720" rIns="36000" bIns="45720" rtlCol="0" anchor="ctr"/>
          <a:lstStyle>
            <a:lvl1pPr algn="r">
              <a:defRPr sz="1050">
                <a:solidFill>
                  <a:schemeClr val="bg1">
                    <a:lumMod val="50000"/>
                  </a:schemeClr>
                </a:solidFill>
              </a:defRPr>
            </a:lvl1pPr>
          </a:lstStyle>
          <a:p>
            <a:fld id="{D172F2D7-8D2E-41D8-8B7A-3CD5C504D6A7}" type="slidenum">
              <a:rPr lang="fr-BE" smtClean="0"/>
              <a:pPr/>
              <a:t>‹#›</a:t>
            </a:fld>
            <a:endParaRPr lang="fr-BE" dirty="0"/>
          </a:p>
        </p:txBody>
      </p:sp>
      <p:sp>
        <p:nvSpPr>
          <p:cNvPr id="2" name="Espace réservé du titre 1">
            <a:extLst>
              <a:ext uri="{FF2B5EF4-FFF2-40B4-BE49-F238E27FC236}">
                <a16:creationId xmlns:a16="http://schemas.microsoft.com/office/drawing/2014/main" id="{F4619521-8DCF-4051-9794-6A6BE17D4B7A}"/>
              </a:ext>
            </a:extLst>
          </p:cNvPr>
          <p:cNvSpPr>
            <a:spLocks noGrp="1"/>
          </p:cNvSpPr>
          <p:nvPr>
            <p:ph type="title"/>
          </p:nvPr>
        </p:nvSpPr>
        <p:spPr>
          <a:xfrm>
            <a:off x="419100" y="347188"/>
            <a:ext cx="11320818" cy="1323975"/>
          </a:xfrm>
          <a:prstGeom prst="rect">
            <a:avLst/>
          </a:prstGeom>
        </p:spPr>
        <p:txBody>
          <a:bodyPr vert="horz" lIns="0" tIns="0" rIns="91440" bIns="45720" rtlCol="0" anchor="t">
            <a:normAutofit/>
          </a:bodyPr>
          <a:lstStyle/>
          <a:p>
            <a:r>
              <a:rPr lang="fr-FR" dirty="0"/>
              <a:t>Modifiez le style du titre</a:t>
            </a:r>
            <a:endParaRPr lang="fr-BE" dirty="0"/>
          </a:p>
        </p:txBody>
      </p:sp>
    </p:spTree>
    <p:extLst>
      <p:ext uri="{BB962C8B-B14F-4D97-AF65-F5344CB8AC3E}">
        <p14:creationId xmlns:p14="http://schemas.microsoft.com/office/powerpoint/2010/main" val="1957999122"/>
      </p:ext>
    </p:extLst>
  </p:cSld>
  <p:clrMap bg1="lt1" tx1="dk1" bg2="lt2" tx2="dk2" accent1="accent1" accent2="accent2" accent3="accent3" accent4="accent4" accent5="accent5" accent6="accent6" hlink="hlink" folHlink="folHlink"/>
  <p:sldLayoutIdLst>
    <p:sldLayoutId id="2147483795" r:id="rId1"/>
    <p:sldLayoutId id="2147483794" r:id="rId2"/>
    <p:sldLayoutId id="2147483796" r:id="rId3"/>
    <p:sldLayoutId id="2147483797" r:id="rId4"/>
    <p:sldLayoutId id="2147483799" r:id="rId5"/>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pied de page 4">
            <a:extLst>
              <a:ext uri="{FF2B5EF4-FFF2-40B4-BE49-F238E27FC236}">
                <a16:creationId xmlns:a16="http://schemas.microsoft.com/office/drawing/2014/main" id="{9F07089D-51ED-4AB4-9286-8248C8A0E4AB}"/>
              </a:ext>
            </a:extLst>
          </p:cNvPr>
          <p:cNvSpPr>
            <a:spLocks noGrp="1"/>
          </p:cNvSpPr>
          <p:nvPr>
            <p:ph type="ftr" sz="quarter" idx="3"/>
          </p:nvPr>
        </p:nvSpPr>
        <p:spPr>
          <a:xfrm>
            <a:off x="839788" y="6390938"/>
            <a:ext cx="8100530" cy="184666"/>
          </a:xfrm>
          <a:prstGeom prst="rect">
            <a:avLst/>
          </a:prstGeom>
        </p:spPr>
        <p:txBody>
          <a:bodyPr vert="horz" lIns="0" tIns="0" rIns="0" bIns="0" rtlCol="0" anchor="t">
            <a:spAutoFit/>
          </a:bodyPr>
          <a:lstStyle>
            <a:lvl1pPr algn="l">
              <a:defRPr sz="1200" b="1" cap="all" spc="0" baseline="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endParaRPr lang="fr-FR"/>
          </a:p>
        </p:txBody>
      </p:sp>
      <p:sp>
        <p:nvSpPr>
          <p:cNvPr id="4" name="Espace réservé du titre 3">
            <a:extLst>
              <a:ext uri="{FF2B5EF4-FFF2-40B4-BE49-F238E27FC236}">
                <a16:creationId xmlns:a16="http://schemas.microsoft.com/office/drawing/2014/main" id="{19044148-8431-4774-8F99-F73470ED5988}"/>
              </a:ext>
            </a:extLst>
          </p:cNvPr>
          <p:cNvSpPr>
            <a:spLocks noGrp="1"/>
          </p:cNvSpPr>
          <p:nvPr>
            <p:ph type="title"/>
          </p:nvPr>
        </p:nvSpPr>
        <p:spPr>
          <a:xfrm>
            <a:off x="838200" y="329265"/>
            <a:ext cx="10442575" cy="276999"/>
          </a:xfrm>
          <a:prstGeom prst="rect">
            <a:avLst/>
          </a:prstGeom>
        </p:spPr>
        <p:txBody>
          <a:bodyPr vert="horz" wrap="square" lIns="0" tIns="0" rIns="0" bIns="0" rtlCol="0" anchor="t" anchorCtr="0">
            <a:spAutoFit/>
          </a:bodyPr>
          <a:lstStyle/>
          <a:p>
            <a:r>
              <a:rPr lang="fr-FR"/>
              <a:t>Modifiez le style du titre</a:t>
            </a:r>
          </a:p>
        </p:txBody>
      </p:sp>
      <p:sp>
        <p:nvSpPr>
          <p:cNvPr id="5" name="Espace réservé du texte 4">
            <a:extLst>
              <a:ext uri="{FF2B5EF4-FFF2-40B4-BE49-F238E27FC236}">
                <a16:creationId xmlns:a16="http://schemas.microsoft.com/office/drawing/2014/main" id="{837B06D0-C015-4E77-A0A3-CFA569D18468}"/>
              </a:ext>
            </a:extLst>
          </p:cNvPr>
          <p:cNvSpPr>
            <a:spLocks noGrp="1"/>
          </p:cNvSpPr>
          <p:nvPr>
            <p:ph type="body" idx="1"/>
          </p:nvPr>
        </p:nvSpPr>
        <p:spPr>
          <a:xfrm>
            <a:off x="838200" y="1021977"/>
            <a:ext cx="10442575" cy="4980846"/>
          </a:xfrm>
          <a:prstGeom prst="rect">
            <a:avLst/>
          </a:prstGeom>
        </p:spPr>
        <p:txBody>
          <a:bodyPr vert="horz" lIns="0" tIns="0" rIns="0" bIns="0" rtlCol="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8" name="Espace réservé du numéro de diapositive 7">
            <a:extLst>
              <a:ext uri="{FF2B5EF4-FFF2-40B4-BE49-F238E27FC236}">
                <a16:creationId xmlns:a16="http://schemas.microsoft.com/office/drawing/2014/main" id="{FE855350-DE05-41EF-BA6F-33B75690F350}"/>
              </a:ext>
            </a:extLst>
          </p:cNvPr>
          <p:cNvSpPr>
            <a:spLocks noGrp="1"/>
          </p:cNvSpPr>
          <p:nvPr>
            <p:ph type="sldNum" sz="quarter" idx="4"/>
          </p:nvPr>
        </p:nvSpPr>
        <p:spPr>
          <a:xfrm>
            <a:off x="10620375" y="6390938"/>
            <a:ext cx="660400" cy="184666"/>
          </a:xfrm>
          <a:prstGeom prst="rect">
            <a:avLst/>
          </a:prstGeom>
        </p:spPr>
        <p:txBody>
          <a:bodyPr vert="horz" wrap="square" lIns="0" tIns="0" rIns="0" bIns="0" rtlCol="0" anchor="t" anchorCtr="0">
            <a:spAutoFit/>
          </a:bodyPr>
          <a:lstStyle>
            <a:lvl1pPr algn="r">
              <a:defRPr sz="1200" b="1">
                <a:solidFill>
                  <a:schemeClr val="tx1"/>
                </a:solidFill>
              </a:defRPr>
            </a:lvl1pPr>
          </a:lstStyle>
          <a:p>
            <a:fld id="{A5C7A32D-1116-4AE8-97EF-D42A2B21677D}" type="slidenum">
              <a:rPr lang="fr-FR" smtClean="0"/>
              <a:t>‹#›</a:t>
            </a:fld>
            <a:endParaRPr lang="fr-FR"/>
          </a:p>
        </p:txBody>
      </p:sp>
    </p:spTree>
    <p:extLst>
      <p:ext uri="{BB962C8B-B14F-4D97-AF65-F5344CB8AC3E}">
        <p14:creationId xmlns:p14="http://schemas.microsoft.com/office/powerpoint/2010/main" val="2549400798"/>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Lst>
  <p:txStyles>
    <p:title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p:titleStyle>
    <p:bodyStyle>
      <a:lvl1pPr marL="360000" indent="-360000" algn="l" defTabSz="914400" rtl="0" eaLnBrk="1" latinLnBrk="0" hangingPunct="1">
        <a:lnSpc>
          <a:spcPct val="90000"/>
        </a:lnSpc>
        <a:spcBef>
          <a:spcPts val="1000"/>
        </a:spcBef>
        <a:buFont typeface="+mj-lt"/>
        <a:buAutoNum type="arabicPeriod"/>
        <a:defRPr sz="2200" b="1" kern="1200">
          <a:solidFill>
            <a:schemeClr val="tx1"/>
          </a:solidFill>
          <a:latin typeface="+mn-lt"/>
          <a:ea typeface="+mn-ea"/>
          <a:cs typeface="+mn-cs"/>
        </a:defRPr>
      </a:lvl1pPr>
      <a:lvl2pPr marL="360000" indent="-360000" algn="l" defTabSz="914400" rtl="0" eaLnBrk="1" latinLnBrk="0" hangingPunct="1">
        <a:lnSpc>
          <a:spcPct val="90000"/>
        </a:lnSpc>
        <a:spcBef>
          <a:spcPts val="1200"/>
        </a:spcBef>
        <a:buFont typeface="+mj-lt"/>
        <a:buAutoNum type="alphaUcPeriod"/>
        <a:defRPr sz="1800" b="1" kern="1200">
          <a:solidFill>
            <a:schemeClr val="tx2"/>
          </a:solidFill>
          <a:latin typeface="+mn-lt"/>
          <a:ea typeface="+mn-ea"/>
          <a:cs typeface="+mn-cs"/>
        </a:defRPr>
      </a:lvl2pPr>
      <a:lvl3pPr marL="360000" indent="-360000" algn="l" defTabSz="914400" rtl="0" eaLnBrk="1" latinLnBrk="0" hangingPunct="1">
        <a:lnSpc>
          <a:spcPct val="90000"/>
        </a:lnSpc>
        <a:spcBef>
          <a:spcPts val="1200"/>
        </a:spcBef>
        <a:buFont typeface="+mj-lt"/>
        <a:buAutoNum type="alphaLcPeriod"/>
        <a:defRPr sz="1800" kern="1200">
          <a:solidFill>
            <a:schemeClr val="tx2"/>
          </a:solidFill>
          <a:latin typeface="+mn-lt"/>
          <a:ea typeface="+mn-ea"/>
          <a:cs typeface="+mn-cs"/>
        </a:defRPr>
      </a:lvl3pPr>
      <a:lvl4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4pPr>
      <a:lvl5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84">
          <p15:clr>
            <a:srgbClr val="F26B43"/>
          </p15:clr>
        </p15:guide>
        <p15:guide id="2" pos="529">
          <p15:clr>
            <a:srgbClr val="F26B43"/>
          </p15:clr>
        </p15:guide>
        <p15:guide id="3" pos="7106">
          <p15:clr>
            <a:srgbClr val="F26B43"/>
          </p15:clr>
        </p15:guide>
        <p15:guide id="4" pos="1598">
          <p15:clr>
            <a:srgbClr val="F26B43"/>
          </p15:clr>
        </p15:guide>
        <p15:guide id="5" orient="horz" pos="1480">
          <p15:clr>
            <a:srgbClr val="F26B43"/>
          </p15:clr>
        </p15:guide>
        <p15:guide id="6" orient="horz" pos="2801">
          <p15:clr>
            <a:srgbClr val="F26B43"/>
          </p15:clr>
        </p15:guide>
        <p15:guide id="7" pos="1457">
          <p15:clr>
            <a:srgbClr val="F26B43"/>
          </p15:clr>
        </p15:guide>
        <p15:guide id="8" orient="horz" pos="373">
          <p15:clr>
            <a:srgbClr val="F26B43"/>
          </p15:clr>
        </p15:guide>
        <p15:guide id="9" orient="horz" pos="16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pied de page 4">
            <a:extLst>
              <a:ext uri="{FF2B5EF4-FFF2-40B4-BE49-F238E27FC236}">
                <a16:creationId xmlns:a16="http://schemas.microsoft.com/office/drawing/2014/main" id="{9F07089D-51ED-4AB4-9286-8248C8A0E4AB}"/>
              </a:ext>
            </a:extLst>
          </p:cNvPr>
          <p:cNvSpPr>
            <a:spLocks noGrp="1"/>
          </p:cNvSpPr>
          <p:nvPr>
            <p:ph type="ftr" sz="quarter" idx="3"/>
          </p:nvPr>
        </p:nvSpPr>
        <p:spPr>
          <a:xfrm>
            <a:off x="839788" y="6390937"/>
            <a:ext cx="8100531" cy="184667"/>
          </a:xfrm>
          <a:prstGeom prst="rect">
            <a:avLst/>
          </a:prstGeom>
        </p:spPr>
        <p:txBody>
          <a:bodyPr vert="horz" lIns="0" tIns="0" rIns="0" bIns="0" rtlCol="0" anchor="t">
            <a:spAutoFit/>
          </a:bodyPr>
          <a:lstStyle>
            <a:lvl1pPr algn="l">
              <a:defRPr sz="1200" b="1" cap="all" spc="0" baseline="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r>
              <a:rPr lang="fr-FR" cap="none">
                <a:solidFill>
                  <a:schemeClr val="tx2"/>
                </a:solidFill>
              </a:rPr>
              <a:t>Ut id mauris dapibus, semper eros ac, porttitor mauris </a:t>
            </a:r>
            <a:r>
              <a:rPr lang="fr-FR" cap="none">
                <a:solidFill>
                  <a:schemeClr val="tx1"/>
                </a:solidFill>
              </a:rPr>
              <a:t>sujet de la présentation – V°001 | 27 juillet 2018</a:t>
            </a:r>
            <a:endParaRPr lang="fr-FR" cap="none" dirty="0">
              <a:solidFill>
                <a:schemeClr val="tx1"/>
              </a:solidFill>
            </a:endParaRPr>
          </a:p>
        </p:txBody>
      </p:sp>
      <p:sp>
        <p:nvSpPr>
          <p:cNvPr id="4" name="Espace réservé du titre 3">
            <a:extLst>
              <a:ext uri="{FF2B5EF4-FFF2-40B4-BE49-F238E27FC236}">
                <a16:creationId xmlns:a16="http://schemas.microsoft.com/office/drawing/2014/main" id="{19044148-8431-4774-8F99-F73470ED5988}"/>
              </a:ext>
            </a:extLst>
          </p:cNvPr>
          <p:cNvSpPr>
            <a:spLocks noGrp="1"/>
          </p:cNvSpPr>
          <p:nvPr>
            <p:ph type="title"/>
          </p:nvPr>
        </p:nvSpPr>
        <p:spPr>
          <a:xfrm>
            <a:off x="838202" y="329266"/>
            <a:ext cx="10442575" cy="276999"/>
          </a:xfrm>
          <a:prstGeom prst="rect">
            <a:avLst/>
          </a:prstGeom>
        </p:spPr>
        <p:txBody>
          <a:bodyPr vert="horz" wrap="square" lIns="0" tIns="0" rIns="0" bIns="0" rtlCol="0" anchor="t" anchorCtr="0">
            <a:spAutoFit/>
          </a:bodyPr>
          <a:lstStyle/>
          <a:p>
            <a:r>
              <a:rPr lang="fr-FR"/>
              <a:t>Modifiez le style du titre</a:t>
            </a:r>
          </a:p>
        </p:txBody>
      </p:sp>
      <p:sp>
        <p:nvSpPr>
          <p:cNvPr id="5" name="Espace réservé du texte 4">
            <a:extLst>
              <a:ext uri="{FF2B5EF4-FFF2-40B4-BE49-F238E27FC236}">
                <a16:creationId xmlns:a16="http://schemas.microsoft.com/office/drawing/2014/main" id="{837B06D0-C015-4E77-A0A3-CFA569D18468}"/>
              </a:ext>
            </a:extLst>
          </p:cNvPr>
          <p:cNvSpPr>
            <a:spLocks noGrp="1"/>
          </p:cNvSpPr>
          <p:nvPr>
            <p:ph type="body" idx="1"/>
          </p:nvPr>
        </p:nvSpPr>
        <p:spPr>
          <a:xfrm>
            <a:off x="838202" y="1021978"/>
            <a:ext cx="10442575" cy="4980847"/>
          </a:xfrm>
          <a:prstGeom prst="rect">
            <a:avLst/>
          </a:prstGeom>
        </p:spPr>
        <p:txBody>
          <a:bodyPr vert="horz" lIns="0" tIns="0" rIns="0" bIns="0" rtlCol="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8" name="Espace réservé du numéro de diapositive 7">
            <a:extLst>
              <a:ext uri="{FF2B5EF4-FFF2-40B4-BE49-F238E27FC236}">
                <a16:creationId xmlns:a16="http://schemas.microsoft.com/office/drawing/2014/main" id="{FE855350-DE05-41EF-BA6F-33B75690F350}"/>
              </a:ext>
            </a:extLst>
          </p:cNvPr>
          <p:cNvSpPr>
            <a:spLocks noGrp="1"/>
          </p:cNvSpPr>
          <p:nvPr>
            <p:ph type="sldNum" sz="quarter" idx="4"/>
          </p:nvPr>
        </p:nvSpPr>
        <p:spPr>
          <a:xfrm>
            <a:off x="10620375" y="6390937"/>
            <a:ext cx="660400" cy="184667"/>
          </a:xfrm>
          <a:prstGeom prst="rect">
            <a:avLst/>
          </a:prstGeom>
        </p:spPr>
        <p:txBody>
          <a:bodyPr vert="horz" wrap="square" lIns="0" tIns="0" rIns="0" bIns="0" rtlCol="0" anchor="t" anchorCtr="0">
            <a:spAutoFit/>
          </a:bodyPr>
          <a:lstStyle>
            <a:lvl1pPr algn="r">
              <a:defRPr sz="1200" b="1">
                <a:solidFill>
                  <a:schemeClr val="tx1"/>
                </a:solidFill>
              </a:defRPr>
            </a:lvl1pPr>
          </a:lstStyle>
          <a:p>
            <a:fld id="{16F61B19-5FB1-451F-938F-D0B1FAC2BDF6}" type="slidenum">
              <a:rPr lang="fr-FR" smtClean="0"/>
              <a:pPr/>
              <a:t>‹#›</a:t>
            </a:fld>
            <a:endParaRPr lang="fr-FR"/>
          </a:p>
        </p:txBody>
      </p:sp>
    </p:spTree>
    <p:extLst>
      <p:ext uri="{BB962C8B-B14F-4D97-AF65-F5344CB8AC3E}">
        <p14:creationId xmlns:p14="http://schemas.microsoft.com/office/powerpoint/2010/main" val="3230715156"/>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 id="2147483843" r:id="rId15"/>
    <p:sldLayoutId id="2147483844" r:id="rId16"/>
    <p:sldLayoutId id="2147483845" r:id="rId17"/>
    <p:sldLayoutId id="2147483846" r:id="rId18"/>
    <p:sldLayoutId id="2147483847" r:id="rId19"/>
    <p:sldLayoutId id="2147483848" r:id="rId20"/>
    <p:sldLayoutId id="2147483849" r:id="rId21"/>
    <p:sldLayoutId id="2147483850" r:id="rId22"/>
    <p:sldLayoutId id="2147483851" r:id="rId23"/>
    <p:sldLayoutId id="2147483852" r:id="rId24"/>
    <p:sldLayoutId id="2147483853" r:id="rId25"/>
    <p:sldLayoutId id="2147483854" r:id="rId26"/>
    <p:sldLayoutId id="2147483855" r:id="rId27"/>
    <p:sldLayoutId id="2147483856" r:id="rId28"/>
  </p:sldLayoutIdLst>
  <p:hf hdr="0"/>
  <p:txStyles>
    <p:titleStyle>
      <a:lvl1pPr algn="l" defTabSz="914377"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p:titleStyle>
    <p:bodyStyle>
      <a:lvl1pPr marL="359991" indent="-359991" algn="l" defTabSz="914377" rtl="0" eaLnBrk="1" latinLnBrk="0" hangingPunct="1">
        <a:lnSpc>
          <a:spcPct val="90000"/>
        </a:lnSpc>
        <a:spcBef>
          <a:spcPts val="1000"/>
        </a:spcBef>
        <a:buFont typeface="+mj-lt"/>
        <a:buAutoNum type="arabicPeriod"/>
        <a:defRPr sz="2200" b="1" kern="1200">
          <a:solidFill>
            <a:schemeClr val="tx1"/>
          </a:solidFill>
          <a:latin typeface="+mn-lt"/>
          <a:ea typeface="+mn-ea"/>
          <a:cs typeface="+mn-cs"/>
        </a:defRPr>
      </a:lvl1pPr>
      <a:lvl2pPr marL="359991" indent="-359991" algn="l" defTabSz="914377" rtl="0" eaLnBrk="1" latinLnBrk="0" hangingPunct="1">
        <a:lnSpc>
          <a:spcPct val="90000"/>
        </a:lnSpc>
        <a:spcBef>
          <a:spcPts val="1200"/>
        </a:spcBef>
        <a:buFont typeface="+mj-lt"/>
        <a:buAutoNum type="alphaUcPeriod"/>
        <a:defRPr sz="1800" b="1" kern="1200">
          <a:solidFill>
            <a:schemeClr val="tx2"/>
          </a:solidFill>
          <a:latin typeface="+mn-lt"/>
          <a:ea typeface="+mn-ea"/>
          <a:cs typeface="+mn-cs"/>
        </a:defRPr>
      </a:lvl2pPr>
      <a:lvl3pPr marL="359991" indent="-359991" algn="l" defTabSz="914377" rtl="0" eaLnBrk="1" latinLnBrk="0" hangingPunct="1">
        <a:lnSpc>
          <a:spcPct val="90000"/>
        </a:lnSpc>
        <a:spcBef>
          <a:spcPts val="1200"/>
        </a:spcBef>
        <a:buFont typeface="+mj-lt"/>
        <a:buAutoNum type="alphaLcPeriod"/>
        <a:defRPr sz="1800" kern="1200">
          <a:solidFill>
            <a:schemeClr val="tx2"/>
          </a:solidFill>
          <a:latin typeface="+mn-lt"/>
          <a:ea typeface="+mn-ea"/>
          <a:cs typeface="+mn-cs"/>
        </a:defRPr>
      </a:lvl3pPr>
      <a:lvl4pPr marL="629984" indent="-269993" algn="l" defTabSz="914377"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4pPr>
      <a:lvl5pPr marL="629984" indent="-269993" algn="l" defTabSz="914377"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84">
          <p15:clr>
            <a:srgbClr val="F26B43"/>
          </p15:clr>
        </p15:guide>
        <p15:guide id="2" pos="529">
          <p15:clr>
            <a:srgbClr val="F26B43"/>
          </p15:clr>
        </p15:guide>
        <p15:guide id="3" pos="7106">
          <p15:clr>
            <a:srgbClr val="F26B43"/>
          </p15:clr>
        </p15:guide>
        <p15:guide id="4" pos="1448">
          <p15:clr>
            <a:srgbClr val="F26B43"/>
          </p15:clr>
        </p15:guide>
        <p15:guide id="5" pos="1593">
          <p15:clr>
            <a:srgbClr val="F26B43"/>
          </p15:clr>
        </p15:guide>
        <p15:guide id="6" orient="horz" pos="371">
          <p15:clr>
            <a:srgbClr val="F26B43"/>
          </p15:clr>
        </p15:guide>
        <p15:guide id="7" orient="horz" pos="1636">
          <p15:clr>
            <a:srgbClr val="F26B43"/>
          </p15:clr>
        </p15:guide>
        <p15:guide id="8" orient="horz" pos="2810">
          <p15:clr>
            <a:srgbClr val="F26B43"/>
          </p15:clr>
        </p15:guide>
        <p15:guide id="9" orient="horz" pos="147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ttangolo 6">
            <a:extLst>
              <a:ext uri="{FF2B5EF4-FFF2-40B4-BE49-F238E27FC236}">
                <a16:creationId xmlns:a16="http://schemas.microsoft.com/office/drawing/2014/main" id="{C790C379-F581-1C41-9B07-1DB03E685EA9}"/>
              </a:ext>
            </a:extLst>
          </p:cNvPr>
          <p:cNvSpPr/>
          <p:nvPr userDrawn="1"/>
        </p:nvSpPr>
        <p:spPr>
          <a:xfrm>
            <a:off x="-7" y="1"/>
            <a:ext cx="12192000" cy="6858003"/>
          </a:xfrm>
          <a:prstGeom prst="rect">
            <a:avLst/>
          </a:prstGeom>
          <a:solidFill>
            <a:srgbClr val="3E0D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1"/>
          </a:p>
        </p:txBody>
      </p:sp>
      <p:sp>
        <p:nvSpPr>
          <p:cNvPr id="6" name="Rettangolo 5">
            <a:extLst>
              <a:ext uri="{FF2B5EF4-FFF2-40B4-BE49-F238E27FC236}">
                <a16:creationId xmlns:a16="http://schemas.microsoft.com/office/drawing/2014/main" id="{CF7B31B9-3388-4947-80E3-3051DFF7A931}"/>
              </a:ext>
            </a:extLst>
          </p:cNvPr>
          <p:cNvSpPr/>
          <p:nvPr userDrawn="1"/>
        </p:nvSpPr>
        <p:spPr>
          <a:xfrm>
            <a:off x="5" y="2"/>
            <a:ext cx="12191995" cy="900100"/>
          </a:xfrm>
          <a:prstGeom prst="rect">
            <a:avLst/>
          </a:prstGeom>
          <a:solidFill>
            <a:srgbClr val="C9BA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1"/>
          </a:p>
        </p:txBody>
      </p:sp>
      <p:sp>
        <p:nvSpPr>
          <p:cNvPr id="8" name="Forme libre : forme 6">
            <a:extLst>
              <a:ext uri="{FF2B5EF4-FFF2-40B4-BE49-F238E27FC236}">
                <a16:creationId xmlns:a16="http://schemas.microsoft.com/office/drawing/2014/main" id="{700A6570-4D99-E844-B5CC-2675C9E1BF7F}"/>
              </a:ext>
            </a:extLst>
          </p:cNvPr>
          <p:cNvSpPr/>
          <p:nvPr userDrawn="1"/>
        </p:nvSpPr>
        <p:spPr>
          <a:xfrm rot="16200000" flipH="1">
            <a:off x="-366681" y="569899"/>
            <a:ext cx="1393765" cy="660403"/>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 name="connsiteX0" fmla="*/ 3900488 w 3900488"/>
              <a:gd name="connsiteY0" fmla="*/ 0 h 4758107"/>
              <a:gd name="connsiteX1" fmla="*/ 0 w 3900488"/>
              <a:gd name="connsiteY1" fmla="*/ 0 h 4758107"/>
              <a:gd name="connsiteX2" fmla="*/ 16 w 3900488"/>
              <a:gd name="connsiteY2" fmla="*/ 2923670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 name="connsiteX8" fmla="*/ 3900488 w 3900488"/>
              <a:gd name="connsiteY8" fmla="*/ 0 h 4758107"/>
              <a:gd name="connsiteX0" fmla="*/ 3900488 w 3900488"/>
              <a:gd name="connsiteY0" fmla="*/ 0 h 4758107"/>
              <a:gd name="connsiteX1" fmla="*/ 1 w 3900488"/>
              <a:gd name="connsiteY1" fmla="*/ 2909951 h 4758107"/>
              <a:gd name="connsiteX2" fmla="*/ 16 w 3900488"/>
              <a:gd name="connsiteY2" fmla="*/ 2923670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 name="connsiteX8" fmla="*/ 3900488 w 3900488"/>
              <a:gd name="connsiteY8" fmla="*/ 0 h 4758107"/>
              <a:gd name="connsiteX0" fmla="*/ 3900497 w 3900498"/>
              <a:gd name="connsiteY0" fmla="*/ 4 h 1848157"/>
              <a:gd name="connsiteX1" fmla="*/ 1 w 3900498"/>
              <a:gd name="connsiteY1" fmla="*/ 1 h 1848157"/>
              <a:gd name="connsiteX2" fmla="*/ 16 w 3900498"/>
              <a:gd name="connsiteY2" fmla="*/ 13720 h 1848157"/>
              <a:gd name="connsiteX3" fmla="*/ 4907 w 3900498"/>
              <a:gd name="connsiteY3" fmla="*/ 875811 h 1848157"/>
              <a:gd name="connsiteX4" fmla="*/ 485655 w 3900498"/>
              <a:gd name="connsiteY4" fmla="*/ 1685085 h 1848157"/>
              <a:gd name="connsiteX5" fmla="*/ 1776162 w 3900498"/>
              <a:gd name="connsiteY5" fmla="*/ 1848157 h 1848157"/>
              <a:gd name="connsiteX6" fmla="*/ 3121899 w 3900498"/>
              <a:gd name="connsiteY6" fmla="*/ 1777227 h 1848157"/>
              <a:gd name="connsiteX7" fmla="*/ 3899490 w 3900498"/>
              <a:gd name="connsiteY7" fmla="*/ 926907 h 1848157"/>
              <a:gd name="connsiteX8" fmla="*/ 3900497 w 3900498"/>
              <a:gd name="connsiteY8" fmla="*/ 4 h 1848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498" h="1848157">
                <a:moveTo>
                  <a:pt x="3900497" y="4"/>
                </a:moveTo>
                <a:lnTo>
                  <a:pt x="1" y="1"/>
                </a:lnTo>
                <a:lnTo>
                  <a:pt x="16" y="13720"/>
                </a:lnTo>
                <a:cubicBezTo>
                  <a:pt x="1647" y="1271068"/>
                  <a:pt x="4874" y="-415081"/>
                  <a:pt x="4907" y="875811"/>
                </a:cubicBezTo>
                <a:cubicBezTo>
                  <a:pt x="24841" y="1213327"/>
                  <a:pt x="109081" y="1467189"/>
                  <a:pt x="485655" y="1685085"/>
                </a:cubicBezTo>
                <a:cubicBezTo>
                  <a:pt x="819273" y="1841673"/>
                  <a:pt x="1340313" y="1833556"/>
                  <a:pt x="1776162" y="1848157"/>
                </a:cubicBezTo>
                <a:cubicBezTo>
                  <a:pt x="2206535" y="1841308"/>
                  <a:pt x="2611757" y="1853657"/>
                  <a:pt x="3121899" y="1777227"/>
                </a:cubicBezTo>
                <a:cubicBezTo>
                  <a:pt x="3593018" y="1665888"/>
                  <a:pt x="3868926" y="1412204"/>
                  <a:pt x="3899490" y="926907"/>
                </a:cubicBezTo>
                <a:cubicBezTo>
                  <a:pt x="3899823" y="-352045"/>
                  <a:pt x="3900164" y="1278956"/>
                  <a:pt x="3900497" y="4"/>
                </a:cubicBezTo>
                <a:close/>
              </a:path>
            </a:pathLst>
          </a:custGeom>
          <a:solidFill>
            <a:srgbClr val="F9D95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35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43159437"/>
      </p:ext>
    </p:extLst>
  </p:cSld>
  <p:clrMap bg1="lt1" tx1="dk1" bg2="lt2" tx2="dk2" accent1="accent1" accent2="accent2" accent3="accent3" accent4="accent4" accent5="accent5" accent6="accent6" hlink="hlink" folHlink="folHlink"/>
  <p:sldLayoutIdLst>
    <p:sldLayoutId id="2147483859" r:id="rId1"/>
    <p:sldLayoutId id="2147483860" r:id="rId2"/>
  </p:sldLayoutIdLst>
  <p:txStyles>
    <p:titleStyle>
      <a:lvl1pPr algn="l" defTabSz="121914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84" indent="-304784" algn="l" defTabSz="121914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54" indent="-304784" algn="l" defTabSz="121914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25" indent="-304784" algn="l" defTabSz="121914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493"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06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63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20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77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341"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it-IT"/>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8368135"/>
      </p:ext>
    </p:extLst>
  </p:cSld>
  <p:clrMap bg1="lt1" tx1="dk1" bg2="lt2" tx2="dk2" accent1="accent1" accent2="accent2" accent3="accent3" accent4="accent4" accent5="accent5" accent6="accent6" hlink="hlink" folHlink="folHlink"/>
  <p:sldLayoutIdLst>
    <p:sldLayoutId id="2147483862" r:id="rId1"/>
  </p:sldLayoutIdLst>
  <p:txStyles>
    <p:titleStyle>
      <a:lvl1pPr algn="l" defTabSz="121914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84" indent="-304784" algn="l" defTabSz="121914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54" indent="-304784" algn="l" defTabSz="121914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25" indent="-304784" algn="l" defTabSz="121914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493"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06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63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20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77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341"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it-IT"/>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pied de page 4">
            <a:extLst>
              <a:ext uri="{FF2B5EF4-FFF2-40B4-BE49-F238E27FC236}">
                <a16:creationId xmlns:a16="http://schemas.microsoft.com/office/drawing/2014/main" id="{9F07089D-51ED-4AB4-9286-8248C8A0E4AB}"/>
              </a:ext>
            </a:extLst>
          </p:cNvPr>
          <p:cNvSpPr>
            <a:spLocks noGrp="1"/>
          </p:cNvSpPr>
          <p:nvPr>
            <p:ph type="ftr" sz="quarter" idx="3"/>
          </p:nvPr>
        </p:nvSpPr>
        <p:spPr>
          <a:xfrm>
            <a:off x="839788" y="6390938"/>
            <a:ext cx="8100530" cy="184666"/>
          </a:xfrm>
          <a:prstGeom prst="rect">
            <a:avLst/>
          </a:prstGeom>
        </p:spPr>
        <p:txBody>
          <a:bodyPr vert="horz" lIns="0" tIns="0" rIns="0" bIns="0" rtlCol="0" anchor="t">
            <a:spAutoFit/>
          </a:bodyPr>
          <a:lstStyle>
            <a:lvl1pPr algn="l">
              <a:defRPr sz="1200" b="1" cap="all" spc="0" baseline="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endParaRPr lang="fr-FR"/>
          </a:p>
        </p:txBody>
      </p:sp>
      <p:sp>
        <p:nvSpPr>
          <p:cNvPr id="4" name="Espace réservé du titre 3">
            <a:extLst>
              <a:ext uri="{FF2B5EF4-FFF2-40B4-BE49-F238E27FC236}">
                <a16:creationId xmlns:a16="http://schemas.microsoft.com/office/drawing/2014/main" id="{19044148-8431-4774-8F99-F73470ED5988}"/>
              </a:ext>
            </a:extLst>
          </p:cNvPr>
          <p:cNvSpPr>
            <a:spLocks noGrp="1"/>
          </p:cNvSpPr>
          <p:nvPr>
            <p:ph type="title"/>
          </p:nvPr>
        </p:nvSpPr>
        <p:spPr>
          <a:xfrm>
            <a:off x="838200" y="329265"/>
            <a:ext cx="10442575" cy="276999"/>
          </a:xfrm>
          <a:prstGeom prst="rect">
            <a:avLst/>
          </a:prstGeom>
        </p:spPr>
        <p:txBody>
          <a:bodyPr vert="horz" wrap="square" lIns="0" tIns="0" rIns="0" bIns="0" rtlCol="0" anchor="t" anchorCtr="0">
            <a:spAutoFit/>
          </a:bodyPr>
          <a:lstStyle/>
          <a:p>
            <a:r>
              <a:rPr lang="fr-FR"/>
              <a:t>Modifiez le style du titre</a:t>
            </a:r>
          </a:p>
        </p:txBody>
      </p:sp>
      <p:sp>
        <p:nvSpPr>
          <p:cNvPr id="5" name="Espace réservé du texte 4">
            <a:extLst>
              <a:ext uri="{FF2B5EF4-FFF2-40B4-BE49-F238E27FC236}">
                <a16:creationId xmlns:a16="http://schemas.microsoft.com/office/drawing/2014/main" id="{837B06D0-C015-4E77-A0A3-CFA569D18468}"/>
              </a:ext>
            </a:extLst>
          </p:cNvPr>
          <p:cNvSpPr>
            <a:spLocks noGrp="1"/>
          </p:cNvSpPr>
          <p:nvPr>
            <p:ph type="body" idx="1"/>
          </p:nvPr>
        </p:nvSpPr>
        <p:spPr>
          <a:xfrm>
            <a:off x="838200" y="1021977"/>
            <a:ext cx="10442575" cy="4980846"/>
          </a:xfrm>
          <a:prstGeom prst="rect">
            <a:avLst/>
          </a:prstGeom>
        </p:spPr>
        <p:txBody>
          <a:bodyPr vert="horz" lIns="0" tIns="0" rIns="0" bIns="0" rtlCol="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8" name="Espace réservé du numéro de diapositive 7">
            <a:extLst>
              <a:ext uri="{FF2B5EF4-FFF2-40B4-BE49-F238E27FC236}">
                <a16:creationId xmlns:a16="http://schemas.microsoft.com/office/drawing/2014/main" id="{FE855350-DE05-41EF-BA6F-33B75690F350}"/>
              </a:ext>
            </a:extLst>
          </p:cNvPr>
          <p:cNvSpPr>
            <a:spLocks noGrp="1"/>
          </p:cNvSpPr>
          <p:nvPr>
            <p:ph type="sldNum" sz="quarter" idx="4"/>
          </p:nvPr>
        </p:nvSpPr>
        <p:spPr>
          <a:xfrm>
            <a:off x="10620375" y="6390938"/>
            <a:ext cx="660400" cy="184666"/>
          </a:xfrm>
          <a:prstGeom prst="rect">
            <a:avLst/>
          </a:prstGeom>
        </p:spPr>
        <p:txBody>
          <a:bodyPr vert="horz" wrap="square" lIns="0" tIns="0" rIns="0" bIns="0" rtlCol="0" anchor="t" anchorCtr="0">
            <a:spAutoFit/>
          </a:bodyPr>
          <a:lstStyle>
            <a:lvl1pPr algn="r">
              <a:defRPr sz="1200" b="1">
                <a:solidFill>
                  <a:schemeClr val="tx1"/>
                </a:solidFill>
              </a:defRPr>
            </a:lvl1pPr>
          </a:lstStyle>
          <a:p>
            <a:fld id="{A5C7A32D-1116-4AE8-97EF-D42A2B21677D}" type="slidenum">
              <a:rPr lang="fr-FR" smtClean="0"/>
              <a:t>‹#›</a:t>
            </a:fld>
            <a:endParaRPr lang="fr-FR"/>
          </a:p>
        </p:txBody>
      </p:sp>
    </p:spTree>
    <p:extLst>
      <p:ext uri="{BB962C8B-B14F-4D97-AF65-F5344CB8AC3E}">
        <p14:creationId xmlns:p14="http://schemas.microsoft.com/office/powerpoint/2010/main" val="2783976677"/>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 id="2147483884" r:id="rId20"/>
    <p:sldLayoutId id="2147483885" r:id="rId21"/>
    <p:sldLayoutId id="2147483886" r:id="rId22"/>
    <p:sldLayoutId id="2147483887" r:id="rId23"/>
    <p:sldLayoutId id="2147483888" r:id="rId24"/>
    <p:sldLayoutId id="2147483889" r:id="rId25"/>
    <p:sldLayoutId id="2147483890" r:id="rId26"/>
  </p:sldLayoutIdLst>
  <p:txStyles>
    <p:title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p:titleStyle>
    <p:bodyStyle>
      <a:lvl1pPr marL="360000" indent="-360000" algn="l" defTabSz="914400" rtl="0" eaLnBrk="1" latinLnBrk="0" hangingPunct="1">
        <a:lnSpc>
          <a:spcPct val="90000"/>
        </a:lnSpc>
        <a:spcBef>
          <a:spcPts val="1000"/>
        </a:spcBef>
        <a:buFont typeface="+mj-lt"/>
        <a:buAutoNum type="arabicPeriod"/>
        <a:defRPr sz="2200" b="1" kern="1200">
          <a:solidFill>
            <a:schemeClr val="tx1"/>
          </a:solidFill>
          <a:latin typeface="+mn-lt"/>
          <a:ea typeface="+mn-ea"/>
          <a:cs typeface="+mn-cs"/>
        </a:defRPr>
      </a:lvl1pPr>
      <a:lvl2pPr marL="360000" indent="-360000" algn="l" defTabSz="914400" rtl="0" eaLnBrk="1" latinLnBrk="0" hangingPunct="1">
        <a:lnSpc>
          <a:spcPct val="90000"/>
        </a:lnSpc>
        <a:spcBef>
          <a:spcPts val="1200"/>
        </a:spcBef>
        <a:buFont typeface="+mj-lt"/>
        <a:buAutoNum type="alphaUcPeriod"/>
        <a:defRPr sz="1800" b="1" kern="1200">
          <a:solidFill>
            <a:schemeClr val="tx2"/>
          </a:solidFill>
          <a:latin typeface="+mn-lt"/>
          <a:ea typeface="+mn-ea"/>
          <a:cs typeface="+mn-cs"/>
        </a:defRPr>
      </a:lvl2pPr>
      <a:lvl3pPr marL="360000" indent="-360000" algn="l" defTabSz="914400" rtl="0" eaLnBrk="1" latinLnBrk="0" hangingPunct="1">
        <a:lnSpc>
          <a:spcPct val="90000"/>
        </a:lnSpc>
        <a:spcBef>
          <a:spcPts val="1200"/>
        </a:spcBef>
        <a:buFont typeface="+mj-lt"/>
        <a:buAutoNum type="alphaLcPeriod"/>
        <a:defRPr sz="1800" kern="1200">
          <a:solidFill>
            <a:schemeClr val="tx2"/>
          </a:solidFill>
          <a:latin typeface="+mn-lt"/>
          <a:ea typeface="+mn-ea"/>
          <a:cs typeface="+mn-cs"/>
        </a:defRPr>
      </a:lvl3pPr>
      <a:lvl4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4pPr>
      <a:lvl5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84">
          <p15:clr>
            <a:srgbClr val="F26B43"/>
          </p15:clr>
        </p15:guide>
        <p15:guide id="2" pos="529">
          <p15:clr>
            <a:srgbClr val="F26B43"/>
          </p15:clr>
        </p15:guide>
        <p15:guide id="3" pos="7106">
          <p15:clr>
            <a:srgbClr val="F26B43"/>
          </p15:clr>
        </p15:guide>
        <p15:guide id="4" pos="1598">
          <p15:clr>
            <a:srgbClr val="F26B43"/>
          </p15:clr>
        </p15:guide>
        <p15:guide id="5" orient="horz" pos="1480">
          <p15:clr>
            <a:srgbClr val="F26B43"/>
          </p15:clr>
        </p15:guide>
        <p15:guide id="6" orient="horz" pos="2801">
          <p15:clr>
            <a:srgbClr val="F26B43"/>
          </p15:clr>
        </p15:guide>
        <p15:guide id="7" pos="1457">
          <p15:clr>
            <a:srgbClr val="F26B43"/>
          </p15:clr>
        </p15:guide>
        <p15:guide id="8" orient="horz" pos="373">
          <p15:clr>
            <a:srgbClr val="F26B43"/>
          </p15:clr>
        </p15:guide>
        <p15:guide id="9" orient="horz" pos="163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6.bin"/><Relationship Id="rId11" Type="http://schemas.openxmlformats.org/officeDocument/2006/relationships/image" Target="../media/image56.svg"/><Relationship Id="rId5" Type="http://schemas.openxmlformats.org/officeDocument/2006/relationships/notesSlide" Target="../notesSlides/notesSlide8.xml"/><Relationship Id="rId10" Type="http://schemas.openxmlformats.org/officeDocument/2006/relationships/image" Target="../media/image55.png"/><Relationship Id="rId4" Type="http://schemas.openxmlformats.org/officeDocument/2006/relationships/slideLayout" Target="../slideLayouts/slideLayout2.xml"/><Relationship Id="rId9" Type="http://schemas.openxmlformats.org/officeDocument/2006/relationships/image" Target="../media/image54.svg"/></Relationships>
</file>

<file path=ppt/slides/_rels/slide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xml"/><Relationship Id="rId7" Type="http://schemas.openxmlformats.org/officeDocument/2006/relationships/image" Target="../media/image2.emf"/><Relationship Id="rId12" Type="http://schemas.openxmlformats.org/officeDocument/2006/relationships/image" Target="../media/image56.sv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7.bin"/><Relationship Id="rId11" Type="http://schemas.openxmlformats.org/officeDocument/2006/relationships/image" Target="../media/image55.png"/><Relationship Id="rId5" Type="http://schemas.openxmlformats.org/officeDocument/2006/relationships/notesSlide" Target="../notesSlides/notesSlide9.xml"/><Relationship Id="rId10" Type="http://schemas.openxmlformats.org/officeDocument/2006/relationships/image" Target="../media/image54.svg"/><Relationship Id="rId4" Type="http://schemas.openxmlformats.org/officeDocument/2006/relationships/slideLayout" Target="../slideLayouts/slideLayout2.xml"/><Relationship Id="rId9" Type="http://schemas.openxmlformats.org/officeDocument/2006/relationships/image" Target="../media/image53.png"/></Relationships>
</file>

<file path=ppt/slides/_rels/slide12.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svg"/><Relationship Id="rId3" Type="http://schemas.openxmlformats.org/officeDocument/2006/relationships/tags" Target="../tags/tag17.xml"/><Relationship Id="rId7" Type="http://schemas.openxmlformats.org/officeDocument/2006/relationships/image" Target="../media/image2.emf"/><Relationship Id="rId12" Type="http://schemas.openxmlformats.org/officeDocument/2006/relationships/image" Target="../media/image61.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8.bin"/><Relationship Id="rId11" Type="http://schemas.openxmlformats.org/officeDocument/2006/relationships/image" Target="../media/image60.svg"/><Relationship Id="rId5" Type="http://schemas.openxmlformats.org/officeDocument/2006/relationships/notesSlide" Target="../notesSlides/notesSlide10.xml"/><Relationship Id="rId10" Type="http://schemas.openxmlformats.org/officeDocument/2006/relationships/image" Target="../media/image59.png"/><Relationship Id="rId4" Type="http://schemas.openxmlformats.org/officeDocument/2006/relationships/slideLayout" Target="../slideLayouts/slideLayout2.xml"/><Relationship Id="rId9" Type="http://schemas.openxmlformats.org/officeDocument/2006/relationships/image" Target="../media/image58.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oleObject" Target="../embeddings/oleObject6.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3" Type="http://schemas.openxmlformats.org/officeDocument/2006/relationships/image" Target="../media/image14.png"/><Relationship Id="rId18" Type="http://schemas.openxmlformats.org/officeDocument/2006/relationships/image" Target="../media/image19.jpeg"/><Relationship Id="rId26" Type="http://schemas.openxmlformats.org/officeDocument/2006/relationships/image" Target="../media/image27.png"/><Relationship Id="rId39" Type="http://schemas.openxmlformats.org/officeDocument/2006/relationships/image" Target="../media/image40.png"/><Relationship Id="rId21" Type="http://schemas.openxmlformats.org/officeDocument/2006/relationships/image" Target="../media/image22.png"/><Relationship Id="rId34" Type="http://schemas.openxmlformats.org/officeDocument/2006/relationships/image" Target="../media/image35.png"/><Relationship Id="rId7" Type="http://schemas.openxmlformats.org/officeDocument/2006/relationships/image" Target="../media/image2.emf"/><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33" Type="http://schemas.openxmlformats.org/officeDocument/2006/relationships/image" Target="../media/image34.png"/><Relationship Id="rId38" Type="http://schemas.openxmlformats.org/officeDocument/2006/relationships/image" Target="../media/image39.jpeg"/><Relationship Id="rId2" Type="http://schemas.openxmlformats.org/officeDocument/2006/relationships/tags" Target="../tags/tag8.xml"/><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png"/><Relationship Id="rId1" Type="http://schemas.openxmlformats.org/officeDocument/2006/relationships/vmlDrawing" Target="../drawings/vmlDrawing5.vml"/><Relationship Id="rId6" Type="http://schemas.openxmlformats.org/officeDocument/2006/relationships/oleObject" Target="../embeddings/oleObject4.bin"/><Relationship Id="rId11" Type="http://schemas.openxmlformats.org/officeDocument/2006/relationships/image" Target="../media/image12.png"/><Relationship Id="rId24" Type="http://schemas.openxmlformats.org/officeDocument/2006/relationships/image" Target="../media/image25.png"/><Relationship Id="rId32" Type="http://schemas.openxmlformats.org/officeDocument/2006/relationships/image" Target="../media/image33.png"/><Relationship Id="rId37" Type="http://schemas.openxmlformats.org/officeDocument/2006/relationships/image" Target="../media/image38.png"/><Relationship Id="rId40" Type="http://schemas.openxmlformats.org/officeDocument/2006/relationships/image" Target="../media/image41.png"/><Relationship Id="rId5" Type="http://schemas.openxmlformats.org/officeDocument/2006/relationships/notesSlide" Target="../notesSlides/notesSlide5.xml"/><Relationship Id="rId15" Type="http://schemas.openxmlformats.org/officeDocument/2006/relationships/image" Target="../media/image16.png"/><Relationship Id="rId23" Type="http://schemas.openxmlformats.org/officeDocument/2006/relationships/image" Target="../media/image24.png"/><Relationship Id="rId28" Type="http://schemas.openxmlformats.org/officeDocument/2006/relationships/image" Target="../media/image29.png"/><Relationship Id="rId36" Type="http://schemas.openxmlformats.org/officeDocument/2006/relationships/image" Target="../media/image37.png"/><Relationship Id="rId10" Type="http://schemas.openxmlformats.org/officeDocument/2006/relationships/image" Target="../media/image11.png"/><Relationship Id="rId19" Type="http://schemas.openxmlformats.org/officeDocument/2006/relationships/image" Target="../media/image20.png"/><Relationship Id="rId31" Type="http://schemas.openxmlformats.org/officeDocument/2006/relationships/image" Target="../media/image32.png"/><Relationship Id="rId4" Type="http://schemas.openxmlformats.org/officeDocument/2006/relationships/slideLayout" Target="../slideLayouts/slideLayout2.xml"/><Relationship Id="rId9" Type="http://schemas.openxmlformats.org/officeDocument/2006/relationships/image" Target="../media/image10.jpeg"/><Relationship Id="rId14" Type="http://schemas.openxmlformats.org/officeDocument/2006/relationships/image" Target="../media/image15.png"/><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png"/><Relationship Id="rId35" Type="http://schemas.openxmlformats.org/officeDocument/2006/relationships/image" Target="../media/image36.png"/><Relationship Id="rId8" Type="http://schemas.openxmlformats.org/officeDocument/2006/relationships/image" Target="../media/image9.jpeg"/><Relationship Id="rId3" Type="http://schemas.openxmlformats.org/officeDocument/2006/relationships/tags" Target="../tags/tag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11.xml"/><Relationship Id="rId7" Type="http://schemas.openxmlformats.org/officeDocument/2006/relationships/image" Target="../media/image2.emf"/><Relationship Id="rId12" Type="http://schemas.microsoft.com/office/2007/relationships/diagramDrawing" Target="../diagrams/drawing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5.bin"/><Relationship Id="rId11" Type="http://schemas.openxmlformats.org/officeDocument/2006/relationships/diagramColors" Target="../diagrams/colors1.xml"/><Relationship Id="rId5" Type="http://schemas.openxmlformats.org/officeDocument/2006/relationships/notesSlide" Target="../notesSlides/notesSlide7.xml"/><Relationship Id="rId10" Type="http://schemas.openxmlformats.org/officeDocument/2006/relationships/diagramQuickStyle" Target="../diagrams/quickStyle1.xml"/><Relationship Id="rId4" Type="http://schemas.openxmlformats.org/officeDocument/2006/relationships/slideLayout" Target="../slideLayouts/slideLayout2.xml"/><Relationship Id="rId9"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p:cNvGrpSpPr/>
        <p:nvPr/>
      </p:nvGrpSpPr>
      <p:grpSpPr>
        <a:xfrm>
          <a:off x="0" y="0"/>
          <a:ext cx="0" cy="0"/>
          <a:chOff x="0" y="0"/>
          <a:chExt cx="0" cy="0"/>
        </a:xfrm>
      </p:grpSpPr>
      <p:pic>
        <p:nvPicPr>
          <p:cNvPr id="53" name="Image 52">
            <a:extLst>
              <a:ext uri="{FF2B5EF4-FFF2-40B4-BE49-F238E27FC236}">
                <a16:creationId xmlns:a16="http://schemas.microsoft.com/office/drawing/2014/main" id="{89124E72-C57E-4FCD-B7B9-F98221F4F12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80614" y="5843753"/>
            <a:ext cx="3993512" cy="388881"/>
          </a:xfrm>
          <a:prstGeom prst="rect">
            <a:avLst/>
          </a:prstGeom>
        </p:spPr>
      </p:pic>
      <p:sp>
        <p:nvSpPr>
          <p:cNvPr id="8" name="Rectangle 7">
            <a:extLst>
              <a:ext uri="{FF2B5EF4-FFF2-40B4-BE49-F238E27FC236}">
                <a16:creationId xmlns:a16="http://schemas.microsoft.com/office/drawing/2014/main" id="{47A02EA4-4BFB-4CAF-9AD9-304F13F8B9B8}"/>
              </a:ext>
            </a:extLst>
          </p:cNvPr>
          <p:cNvSpPr/>
          <p:nvPr/>
        </p:nvSpPr>
        <p:spPr>
          <a:xfrm>
            <a:off x="832452" y="1441805"/>
            <a:ext cx="10848975" cy="3721092"/>
          </a:xfrm>
          <a:prstGeom prst="rect">
            <a:avLst/>
          </a:prstGeom>
          <a:noFill/>
        </p:spPr>
        <p:txBody>
          <a:bodyPr wrap="square" lIns="36000" tIns="36000" rIns="36000" bIns="36000" anchor="ctr" anchorCtr="0">
            <a:noAutofit/>
          </a:bodyPr>
          <a:lstStyle/>
          <a:p>
            <a:pPr marL="0" marR="0" lvl="0" indent="0" defTabSz="914400" rtl="0" eaLnBrk="1" fontAlgn="auto" latinLnBrk="0" hangingPunct="1">
              <a:lnSpc>
                <a:spcPct val="80000"/>
              </a:lnSpc>
              <a:spcAft>
                <a:spcPts val="0"/>
              </a:spcAft>
              <a:buClrTx/>
              <a:buSzTx/>
              <a:buFontTx/>
              <a:buNone/>
              <a:tabLst/>
              <a:defRPr/>
            </a:pPr>
            <a:r>
              <a:rPr lang="en-US" sz="8800" b="1" spc="600" dirty="0">
                <a:solidFill>
                  <a:schemeClr val="bg2"/>
                </a:solidFill>
                <a:latin typeface="Montserrat Black" pitchFamily="2" charset="77"/>
              </a:rPr>
              <a:t>2021</a:t>
            </a:r>
          </a:p>
          <a:p>
            <a:pPr marL="0" marR="0" lvl="0" indent="0" defTabSz="914400" rtl="0" eaLnBrk="1" fontAlgn="auto" latinLnBrk="0" hangingPunct="1">
              <a:lnSpc>
                <a:spcPct val="80000"/>
              </a:lnSpc>
              <a:spcAft>
                <a:spcPts val="0"/>
              </a:spcAft>
              <a:buClrTx/>
              <a:buSzTx/>
              <a:buFontTx/>
              <a:buNone/>
              <a:tabLst/>
              <a:defRPr/>
            </a:pPr>
            <a:r>
              <a:rPr lang="en-US" sz="6600" dirty="0">
                <a:solidFill>
                  <a:srgbClr val="FFFFFF"/>
                </a:solidFill>
                <a:latin typeface="Montserrat ExtraBold" panose="00000900000000000000" pitchFamily="50" charset="0"/>
              </a:rPr>
              <a:t>Econocom</a:t>
            </a:r>
          </a:p>
        </p:txBody>
      </p:sp>
      <p:sp>
        <p:nvSpPr>
          <p:cNvPr id="4" name="Rectangle 3">
            <a:extLst>
              <a:ext uri="{FF2B5EF4-FFF2-40B4-BE49-F238E27FC236}">
                <a16:creationId xmlns:a16="http://schemas.microsoft.com/office/drawing/2014/main" id="{EF0E23A8-7BB6-4651-9723-0176C5530A7D}"/>
              </a:ext>
            </a:extLst>
          </p:cNvPr>
          <p:cNvSpPr/>
          <p:nvPr/>
        </p:nvSpPr>
        <p:spPr>
          <a:xfrm>
            <a:off x="832452" y="4556175"/>
            <a:ext cx="5190096" cy="469543"/>
          </a:xfrm>
          <a:prstGeom prst="rect">
            <a:avLst/>
          </a:prstGeom>
          <a:noFill/>
        </p:spPr>
        <p:txBody>
          <a:bodyPr wrap="square" lIns="0" tIns="36000" rIns="36000" bIns="36000" anchor="ctr" anchorCtr="0">
            <a:spAutoFit/>
          </a:bodyPr>
          <a:lstStyle/>
          <a:p>
            <a:pPr lvl="0">
              <a:lnSpc>
                <a:spcPct val="80000"/>
              </a:lnSpc>
              <a:defRPr/>
            </a:pPr>
            <a:r>
              <a:rPr lang="en-US" sz="3200" dirty="0">
                <a:solidFill>
                  <a:srgbClr val="FFFFFF"/>
                </a:solidFill>
              </a:rPr>
              <a:t>corporate presentation</a:t>
            </a:r>
          </a:p>
        </p:txBody>
      </p:sp>
    </p:spTree>
    <p:extLst>
      <p:ext uri="{BB962C8B-B14F-4D97-AF65-F5344CB8AC3E}">
        <p14:creationId xmlns:p14="http://schemas.microsoft.com/office/powerpoint/2010/main" val="12370699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66"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sym typeface="Montserrat" panose="00000500000000000000" pitchFamily="2" charset="0"/>
            </a:endParaRPr>
          </a:p>
        </p:txBody>
      </p:sp>
      <p:sp>
        <p:nvSpPr>
          <p:cNvPr id="13" name="Espace réservé du numéro de diapositive 4">
            <a:extLst>
              <a:ext uri="{FF2B5EF4-FFF2-40B4-BE49-F238E27FC236}">
                <a16:creationId xmlns:a16="http://schemas.microsoft.com/office/drawing/2014/main" id="{E790D2E0-0F21-4621-8F06-C8A4B08D1CBE}"/>
              </a:ext>
            </a:extLst>
          </p:cNvPr>
          <p:cNvSpPr>
            <a:spLocks noGrp="1"/>
          </p:cNvSpPr>
          <p:nvPr>
            <p:ph type="sldNum" sz="quarter" idx="12"/>
          </p:nvPr>
        </p:nvSpPr>
        <p:spPr>
          <a:xfrm>
            <a:off x="11620500" y="6426200"/>
            <a:ext cx="350520" cy="24384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C5DC16-0D22-4C7F-9249-BF4D2D91D79F}" type="slidenum">
              <a:rPr kumimoji="0" lang="en-US" sz="1050" b="0" i="0" u="none" strike="noStrike" kern="1200" cap="none" spc="0" normalizeH="0" baseline="0" noProof="0" smtClean="0">
                <a:ln>
                  <a:noFill/>
                </a:ln>
                <a:solidFill>
                  <a:prstClr val="white">
                    <a:lumMod val="50000"/>
                  </a:prstClr>
                </a:solidFill>
                <a:effectLst/>
                <a:uLnTx/>
                <a:uFillTx/>
                <a:latin typeface="Montserrat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prstClr val="white">
                  <a:lumMod val="50000"/>
                </a:prstClr>
              </a:solidFill>
              <a:effectLst/>
              <a:uLnTx/>
              <a:uFillTx/>
              <a:latin typeface="Montserrat SemiBold"/>
              <a:ea typeface="+mn-ea"/>
              <a:cs typeface="+mn-cs"/>
            </a:endParaRPr>
          </a:p>
        </p:txBody>
      </p:sp>
      <p:sp>
        <p:nvSpPr>
          <p:cNvPr id="8" name="Titre 5">
            <a:extLst>
              <a:ext uri="{FF2B5EF4-FFF2-40B4-BE49-F238E27FC236}">
                <a16:creationId xmlns:a16="http://schemas.microsoft.com/office/drawing/2014/main" id="{8AE33944-45A3-415C-9EBA-293C9717DF33}"/>
              </a:ext>
            </a:extLst>
          </p:cNvPr>
          <p:cNvSpPr txBox="1">
            <a:spLocks/>
          </p:cNvSpPr>
          <p:nvPr/>
        </p:nvSpPr>
        <p:spPr>
          <a:xfrm>
            <a:off x="888790" y="569274"/>
            <a:ext cx="11042541" cy="856405"/>
          </a:xfrm>
          <a:prstGeom prst="rect">
            <a:avLst/>
          </a:prstGeom>
        </p:spPr>
        <p:txBody>
          <a:bodyPr vert="horz" lIns="0" tIns="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defRPr/>
            </a:pPr>
            <a:r>
              <a:rPr lang="en-US" dirty="0"/>
              <a:t>What’s in it for customers</a:t>
            </a:r>
          </a:p>
        </p:txBody>
      </p:sp>
      <p:sp>
        <p:nvSpPr>
          <p:cNvPr id="18" name="Subtitle 2">
            <a:extLst>
              <a:ext uri="{FF2B5EF4-FFF2-40B4-BE49-F238E27FC236}">
                <a16:creationId xmlns:a16="http://schemas.microsoft.com/office/drawing/2014/main" id="{FD48FD3C-8269-4C1D-82FB-432A4C1E0B1C}"/>
              </a:ext>
            </a:extLst>
          </p:cNvPr>
          <p:cNvSpPr txBox="1">
            <a:spLocks/>
          </p:cNvSpPr>
          <p:nvPr/>
        </p:nvSpPr>
        <p:spPr>
          <a:xfrm>
            <a:off x="643211" y="288108"/>
            <a:ext cx="8297321" cy="933605"/>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r>
              <a:rPr lang="en-US" sz="4800" dirty="0">
                <a:solidFill>
                  <a:srgbClr val="FF0000"/>
                </a:solidFill>
              </a:rPr>
              <a:t> </a:t>
            </a:r>
          </a:p>
        </p:txBody>
      </p:sp>
      <p:sp>
        <p:nvSpPr>
          <p:cNvPr id="108" name="TextBox 107">
            <a:extLst>
              <a:ext uri="{FF2B5EF4-FFF2-40B4-BE49-F238E27FC236}">
                <a16:creationId xmlns:a16="http://schemas.microsoft.com/office/drawing/2014/main" id="{B64B5617-C640-4789-9C9C-F60FCD0412E7}"/>
              </a:ext>
            </a:extLst>
          </p:cNvPr>
          <p:cNvSpPr txBox="1"/>
          <p:nvPr/>
        </p:nvSpPr>
        <p:spPr>
          <a:xfrm>
            <a:off x="790271" y="2780951"/>
            <a:ext cx="3353761" cy="1838801"/>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ctr" anchorCtr="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mj-lt"/>
                <a:ea typeface="+mn-ea"/>
                <a:cs typeface="+mn-cs"/>
              </a:rPr>
              <a:t>Cash preservation</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a typeface="+mn-ea"/>
              <a:cs typeface="+mn-cs"/>
            </a:endParaRPr>
          </a:p>
          <a:p>
            <a:pPr lvl="0" algn="ctr" defTabSz="457200">
              <a:defRPr/>
            </a:pPr>
            <a:r>
              <a:rPr lang="en-GB" kern="0" dirty="0">
                <a:solidFill>
                  <a:prstClr val="black"/>
                </a:solidFill>
                <a:latin typeface="+mj-lt"/>
              </a:rPr>
              <a:t>Spread costs over time </a:t>
            </a:r>
          </a:p>
          <a:p>
            <a:pPr lvl="0" algn="ctr" defTabSz="457200">
              <a:defRPr/>
            </a:pPr>
            <a:endParaRPr lang="en-GB" kern="0" dirty="0">
              <a:solidFill>
                <a:prstClr val="black"/>
              </a:solidFill>
              <a:latin typeface="+mj-lt"/>
            </a:endParaRPr>
          </a:p>
          <a:p>
            <a:pPr lvl="0" algn="ctr" defTabSz="457200">
              <a:defRPr/>
            </a:pPr>
            <a:r>
              <a:rPr lang="en-GB" kern="0" dirty="0">
                <a:solidFill>
                  <a:prstClr val="black"/>
                </a:solidFill>
                <a:latin typeface="+mj-lt"/>
              </a:rPr>
              <a:t>Avoid up-front investment spike</a:t>
            </a:r>
          </a:p>
        </p:txBody>
      </p:sp>
      <p:sp>
        <p:nvSpPr>
          <p:cNvPr id="109" name="Flowchart: Connector 108">
            <a:extLst>
              <a:ext uri="{FF2B5EF4-FFF2-40B4-BE49-F238E27FC236}">
                <a16:creationId xmlns:a16="http://schemas.microsoft.com/office/drawing/2014/main" id="{0229B08C-41B8-4E9F-9605-41F440DC5DC4}"/>
              </a:ext>
            </a:extLst>
          </p:cNvPr>
          <p:cNvSpPr/>
          <p:nvPr/>
        </p:nvSpPr>
        <p:spPr>
          <a:xfrm>
            <a:off x="1946216" y="1541119"/>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mj-lt"/>
              <a:ea typeface="+mn-ea"/>
              <a:cs typeface="+mn-cs"/>
            </a:endParaRPr>
          </a:p>
        </p:txBody>
      </p:sp>
      <p:sp>
        <p:nvSpPr>
          <p:cNvPr id="110" name="TextBox 109">
            <a:extLst>
              <a:ext uri="{FF2B5EF4-FFF2-40B4-BE49-F238E27FC236}">
                <a16:creationId xmlns:a16="http://schemas.microsoft.com/office/drawing/2014/main" id="{FDD896C9-52F0-47D2-932E-88097E34BADE}"/>
              </a:ext>
            </a:extLst>
          </p:cNvPr>
          <p:cNvSpPr txBox="1"/>
          <p:nvPr/>
        </p:nvSpPr>
        <p:spPr>
          <a:xfrm>
            <a:off x="4406899" y="2780950"/>
            <a:ext cx="3353761" cy="1838801"/>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b" anchorCtr="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lang="en-GB" b="1" kern="0" dirty="0">
                <a:solidFill>
                  <a:prstClr val="black"/>
                </a:solidFill>
                <a:latin typeface="+mj-lt"/>
              </a:rPr>
              <a:t>Revenue expense</a:t>
            </a:r>
            <a:endParaRPr kumimoji="0" lang="en-GB" sz="1800" b="1" i="0" u="none" strike="noStrike" kern="0" cap="none" spc="0" normalizeH="0" baseline="0" noProof="0" dirty="0">
              <a:ln>
                <a:noFill/>
              </a:ln>
              <a:solidFill>
                <a:prstClr val="black"/>
              </a:solidFill>
              <a:effectLst/>
              <a:uLnTx/>
              <a:uFillTx/>
              <a:latin typeface="+mj-lt"/>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a typeface="+mn-ea"/>
              <a:cs typeface="+mn-cs"/>
            </a:endParaRPr>
          </a:p>
          <a:p>
            <a:pPr lvl="0" algn="ctr" defTabSz="457200">
              <a:defRPr/>
            </a:pPr>
            <a:r>
              <a:rPr lang="en-GB" kern="0" dirty="0">
                <a:solidFill>
                  <a:prstClr val="black"/>
                </a:solidFill>
                <a:latin typeface="+mj-lt"/>
              </a:rPr>
              <a:t>Rental rather than finance​</a:t>
            </a:r>
          </a:p>
          <a:p>
            <a:pPr lvl="0" algn="ctr" defTabSz="457200">
              <a:defRPr/>
            </a:pPr>
            <a:endParaRPr lang="en-GB" kern="0" dirty="0">
              <a:solidFill>
                <a:prstClr val="black"/>
              </a:solidFill>
              <a:latin typeface="+mj-lt"/>
            </a:endParaRPr>
          </a:p>
          <a:p>
            <a:pPr lvl="0" algn="ctr" defTabSz="457200">
              <a:defRPr/>
            </a:pPr>
            <a:r>
              <a:rPr lang="en-GB" kern="0" dirty="0" err="1">
                <a:solidFill>
                  <a:prstClr val="black"/>
                </a:solidFill>
                <a:latin typeface="+mj-lt"/>
              </a:rPr>
              <a:t>OpEx</a:t>
            </a:r>
            <a:r>
              <a:rPr lang="en-GB" kern="0" dirty="0">
                <a:solidFill>
                  <a:prstClr val="black"/>
                </a:solidFill>
                <a:latin typeface="+mj-lt"/>
              </a:rPr>
              <a:t> rather than </a:t>
            </a:r>
            <a:r>
              <a:rPr lang="en-GB" kern="0" dirty="0" err="1">
                <a:solidFill>
                  <a:prstClr val="black"/>
                </a:solidFill>
                <a:latin typeface="+mj-lt"/>
              </a:rPr>
              <a:t>CapEx</a:t>
            </a:r>
            <a:r>
              <a:rPr lang="en-GB" kern="0" dirty="0">
                <a:solidFill>
                  <a:prstClr val="black"/>
                </a:solidFill>
                <a:latin typeface="+mj-lt"/>
              </a:rPr>
              <a:t>​</a:t>
            </a:r>
          </a:p>
          <a:p>
            <a:pPr lvl="0" algn="ctr" defTabSz="457200">
              <a:defRPr/>
            </a:pPr>
            <a:endParaRPr lang="en-GB" kern="0" dirty="0">
              <a:solidFill>
                <a:prstClr val="black"/>
              </a:solidFill>
              <a:latin typeface="+mj-lt"/>
            </a:endParaRPr>
          </a:p>
        </p:txBody>
      </p:sp>
      <p:grpSp>
        <p:nvGrpSpPr>
          <p:cNvPr id="111" name="Groupe 716">
            <a:extLst>
              <a:ext uri="{FF2B5EF4-FFF2-40B4-BE49-F238E27FC236}">
                <a16:creationId xmlns:a16="http://schemas.microsoft.com/office/drawing/2014/main" id="{1312E2A3-696D-421B-A015-8E83236FCA79}"/>
              </a:ext>
            </a:extLst>
          </p:cNvPr>
          <p:cNvGrpSpPr/>
          <p:nvPr/>
        </p:nvGrpSpPr>
        <p:grpSpPr>
          <a:xfrm>
            <a:off x="5714164" y="1793021"/>
            <a:ext cx="520205" cy="527346"/>
            <a:chOff x="8810632" y="8632825"/>
            <a:chExt cx="787400" cy="719138"/>
          </a:xfrm>
          <a:solidFill>
            <a:srgbClr val="573EEF"/>
          </a:solidFill>
        </p:grpSpPr>
        <p:grpSp>
          <p:nvGrpSpPr>
            <p:cNvPr id="112" name="Group 288">
              <a:extLst>
                <a:ext uri="{FF2B5EF4-FFF2-40B4-BE49-F238E27FC236}">
                  <a16:creationId xmlns:a16="http://schemas.microsoft.com/office/drawing/2014/main" id="{DEEBAB42-FF17-4A88-BB8B-4BAC657D9C96}"/>
                </a:ext>
              </a:extLst>
            </p:cNvPr>
            <p:cNvGrpSpPr>
              <a:grpSpLocks noChangeAspect="1"/>
            </p:cNvGrpSpPr>
            <p:nvPr/>
          </p:nvGrpSpPr>
          <p:grpSpPr bwMode="auto">
            <a:xfrm>
              <a:off x="8888413" y="8632825"/>
              <a:ext cx="606425" cy="625475"/>
              <a:chOff x="5599" y="5438"/>
              <a:chExt cx="382" cy="394"/>
            </a:xfrm>
            <a:grpFill/>
          </p:grpSpPr>
          <p:sp>
            <p:nvSpPr>
              <p:cNvPr id="114" name="Freeform 290">
                <a:extLst>
                  <a:ext uri="{FF2B5EF4-FFF2-40B4-BE49-F238E27FC236}">
                    <a16:creationId xmlns:a16="http://schemas.microsoft.com/office/drawing/2014/main" id="{2E553C85-A9F8-4DCF-B7C1-43AAAB9CF1B3}"/>
                  </a:ext>
                </a:extLst>
              </p:cNvPr>
              <p:cNvSpPr>
                <a:spLocks noEditPoints="1"/>
              </p:cNvSpPr>
              <p:nvPr/>
            </p:nvSpPr>
            <p:spPr bwMode="auto">
              <a:xfrm>
                <a:off x="5599" y="5590"/>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7" y="0"/>
                      <a:pt x="39" y="2"/>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5" name="Freeform 291">
                <a:extLst>
                  <a:ext uri="{FF2B5EF4-FFF2-40B4-BE49-F238E27FC236}">
                    <a16:creationId xmlns:a16="http://schemas.microsoft.com/office/drawing/2014/main" id="{33BC82FC-8760-4A17-B070-9AFD001186D6}"/>
                  </a:ext>
                </a:extLst>
              </p:cNvPr>
              <p:cNvSpPr>
                <a:spLocks noEditPoints="1"/>
              </p:cNvSpPr>
              <p:nvPr/>
            </p:nvSpPr>
            <p:spPr bwMode="auto">
              <a:xfrm>
                <a:off x="5737" y="5590"/>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7" y="0"/>
                      <a:pt x="39" y="2"/>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6" name="Freeform 292">
                <a:extLst>
                  <a:ext uri="{FF2B5EF4-FFF2-40B4-BE49-F238E27FC236}">
                    <a16:creationId xmlns:a16="http://schemas.microsoft.com/office/drawing/2014/main" id="{CB904D9A-8E3D-4359-9757-ECF32F4386FE}"/>
                  </a:ext>
                </a:extLst>
              </p:cNvPr>
              <p:cNvSpPr>
                <a:spLocks noEditPoints="1"/>
              </p:cNvSpPr>
              <p:nvPr/>
            </p:nvSpPr>
            <p:spPr bwMode="auto">
              <a:xfrm>
                <a:off x="5875" y="5590"/>
                <a:ext cx="106"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8" y="0"/>
                      <a:pt x="39" y="2"/>
                      <a:pt x="39" y="3"/>
                    </a:cubicBezTo>
                    <a:cubicBezTo>
                      <a:pt x="39" y="36"/>
                      <a:pt x="39" y="36"/>
                      <a:pt x="39" y="36"/>
                    </a:cubicBezTo>
                    <a:cubicBezTo>
                      <a:pt x="39" y="38"/>
                      <a:pt x="38"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7" name="Freeform 293">
                <a:extLst>
                  <a:ext uri="{FF2B5EF4-FFF2-40B4-BE49-F238E27FC236}">
                    <a16:creationId xmlns:a16="http://schemas.microsoft.com/office/drawing/2014/main" id="{23F2BE6A-4EBF-4FAF-8D3D-3691E8B712BC}"/>
                  </a:ext>
                </a:extLst>
              </p:cNvPr>
              <p:cNvSpPr>
                <a:spLocks noEditPoints="1"/>
              </p:cNvSpPr>
              <p:nvPr/>
            </p:nvSpPr>
            <p:spPr bwMode="auto">
              <a:xfrm>
                <a:off x="5875" y="5726"/>
                <a:ext cx="106"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8" y="0"/>
                      <a:pt x="39" y="1"/>
                      <a:pt x="39" y="3"/>
                    </a:cubicBezTo>
                    <a:cubicBezTo>
                      <a:pt x="39" y="36"/>
                      <a:pt x="39" y="36"/>
                      <a:pt x="39" y="36"/>
                    </a:cubicBezTo>
                    <a:cubicBezTo>
                      <a:pt x="39" y="38"/>
                      <a:pt x="38"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8" name="Freeform 294">
                <a:extLst>
                  <a:ext uri="{FF2B5EF4-FFF2-40B4-BE49-F238E27FC236}">
                    <a16:creationId xmlns:a16="http://schemas.microsoft.com/office/drawing/2014/main" id="{8B1F8E5B-FF2E-41B5-9378-704C4FBF49B5}"/>
                  </a:ext>
                </a:extLst>
              </p:cNvPr>
              <p:cNvSpPr>
                <a:spLocks noEditPoints="1"/>
              </p:cNvSpPr>
              <p:nvPr/>
            </p:nvSpPr>
            <p:spPr bwMode="auto">
              <a:xfrm>
                <a:off x="5599" y="5726"/>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7" y="0"/>
                      <a:pt x="39" y="1"/>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9" name="Freeform 295">
                <a:extLst>
                  <a:ext uri="{FF2B5EF4-FFF2-40B4-BE49-F238E27FC236}">
                    <a16:creationId xmlns:a16="http://schemas.microsoft.com/office/drawing/2014/main" id="{03A14095-8E23-4877-A71B-2EDBCEFB058D}"/>
                  </a:ext>
                </a:extLst>
              </p:cNvPr>
              <p:cNvSpPr>
                <a:spLocks noEditPoints="1"/>
              </p:cNvSpPr>
              <p:nvPr/>
            </p:nvSpPr>
            <p:spPr bwMode="auto">
              <a:xfrm>
                <a:off x="5737" y="5726"/>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7" y="0"/>
                      <a:pt x="39" y="1"/>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20" name="Freeform 296">
                <a:extLst>
                  <a:ext uri="{FF2B5EF4-FFF2-40B4-BE49-F238E27FC236}">
                    <a16:creationId xmlns:a16="http://schemas.microsoft.com/office/drawing/2014/main" id="{3C0B4650-0881-4BD5-A37E-4F86C86964DA}"/>
                  </a:ext>
                </a:extLst>
              </p:cNvPr>
              <p:cNvSpPr>
                <a:spLocks/>
              </p:cNvSpPr>
              <p:nvPr/>
            </p:nvSpPr>
            <p:spPr bwMode="auto">
              <a:xfrm>
                <a:off x="5642" y="5438"/>
                <a:ext cx="16" cy="79"/>
              </a:xfrm>
              <a:custGeom>
                <a:avLst/>
                <a:gdLst>
                  <a:gd name="T0" fmla="*/ 3 w 6"/>
                  <a:gd name="T1" fmla="*/ 29 h 29"/>
                  <a:gd name="T2" fmla="*/ 0 w 6"/>
                  <a:gd name="T3" fmla="*/ 26 h 29"/>
                  <a:gd name="T4" fmla="*/ 0 w 6"/>
                  <a:gd name="T5" fmla="*/ 3 h 29"/>
                  <a:gd name="T6" fmla="*/ 3 w 6"/>
                  <a:gd name="T7" fmla="*/ 0 h 29"/>
                  <a:gd name="T8" fmla="*/ 6 w 6"/>
                  <a:gd name="T9" fmla="*/ 3 h 29"/>
                  <a:gd name="T10" fmla="*/ 6 w 6"/>
                  <a:gd name="T11" fmla="*/ 26 h 29"/>
                  <a:gd name="T12" fmla="*/ 3 w 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6" h="29">
                    <a:moveTo>
                      <a:pt x="3" y="29"/>
                    </a:moveTo>
                    <a:cubicBezTo>
                      <a:pt x="1" y="29"/>
                      <a:pt x="0" y="28"/>
                      <a:pt x="0" y="26"/>
                    </a:cubicBezTo>
                    <a:cubicBezTo>
                      <a:pt x="0" y="3"/>
                      <a:pt x="0" y="3"/>
                      <a:pt x="0" y="3"/>
                    </a:cubicBezTo>
                    <a:cubicBezTo>
                      <a:pt x="0" y="2"/>
                      <a:pt x="1" y="0"/>
                      <a:pt x="3" y="0"/>
                    </a:cubicBezTo>
                    <a:cubicBezTo>
                      <a:pt x="5" y="0"/>
                      <a:pt x="6" y="2"/>
                      <a:pt x="6" y="3"/>
                    </a:cubicBezTo>
                    <a:cubicBezTo>
                      <a:pt x="6" y="26"/>
                      <a:pt x="6" y="26"/>
                      <a:pt x="6" y="26"/>
                    </a:cubicBezTo>
                    <a:cubicBezTo>
                      <a:pt x="6" y="28"/>
                      <a:pt x="5" y="29"/>
                      <a:pt x="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21" name="Freeform 297">
                <a:extLst>
                  <a:ext uri="{FF2B5EF4-FFF2-40B4-BE49-F238E27FC236}">
                    <a16:creationId xmlns:a16="http://schemas.microsoft.com/office/drawing/2014/main" id="{6B1195D1-1468-4AB6-9436-86AC751654FF}"/>
                  </a:ext>
                </a:extLst>
              </p:cNvPr>
              <p:cNvSpPr>
                <a:spLocks/>
              </p:cNvSpPr>
              <p:nvPr/>
            </p:nvSpPr>
            <p:spPr bwMode="auto">
              <a:xfrm>
                <a:off x="5921" y="5438"/>
                <a:ext cx="16" cy="79"/>
              </a:xfrm>
              <a:custGeom>
                <a:avLst/>
                <a:gdLst>
                  <a:gd name="T0" fmla="*/ 3 w 6"/>
                  <a:gd name="T1" fmla="*/ 29 h 29"/>
                  <a:gd name="T2" fmla="*/ 0 w 6"/>
                  <a:gd name="T3" fmla="*/ 26 h 29"/>
                  <a:gd name="T4" fmla="*/ 0 w 6"/>
                  <a:gd name="T5" fmla="*/ 3 h 29"/>
                  <a:gd name="T6" fmla="*/ 3 w 6"/>
                  <a:gd name="T7" fmla="*/ 0 h 29"/>
                  <a:gd name="T8" fmla="*/ 6 w 6"/>
                  <a:gd name="T9" fmla="*/ 3 h 29"/>
                  <a:gd name="T10" fmla="*/ 6 w 6"/>
                  <a:gd name="T11" fmla="*/ 26 h 29"/>
                  <a:gd name="T12" fmla="*/ 3 w 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6" h="29">
                    <a:moveTo>
                      <a:pt x="3" y="29"/>
                    </a:moveTo>
                    <a:cubicBezTo>
                      <a:pt x="1" y="29"/>
                      <a:pt x="0" y="28"/>
                      <a:pt x="0" y="26"/>
                    </a:cubicBezTo>
                    <a:cubicBezTo>
                      <a:pt x="0" y="3"/>
                      <a:pt x="0" y="3"/>
                      <a:pt x="0" y="3"/>
                    </a:cubicBezTo>
                    <a:cubicBezTo>
                      <a:pt x="0" y="2"/>
                      <a:pt x="1" y="0"/>
                      <a:pt x="3" y="0"/>
                    </a:cubicBezTo>
                    <a:cubicBezTo>
                      <a:pt x="4" y="0"/>
                      <a:pt x="6" y="2"/>
                      <a:pt x="6" y="3"/>
                    </a:cubicBezTo>
                    <a:cubicBezTo>
                      <a:pt x="6" y="26"/>
                      <a:pt x="6" y="26"/>
                      <a:pt x="6" y="26"/>
                    </a:cubicBezTo>
                    <a:cubicBezTo>
                      <a:pt x="6" y="28"/>
                      <a:pt x="4" y="29"/>
                      <a:pt x="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grpSp>
        <p:sp>
          <p:nvSpPr>
            <p:cNvPr id="113" name="Freeform 289">
              <a:extLst>
                <a:ext uri="{FF2B5EF4-FFF2-40B4-BE49-F238E27FC236}">
                  <a16:creationId xmlns:a16="http://schemas.microsoft.com/office/drawing/2014/main" id="{8A2CFBC5-9DC7-4C3C-AD9E-19A1EFE20259}"/>
                </a:ext>
              </a:extLst>
            </p:cNvPr>
            <p:cNvSpPr>
              <a:spLocks noEditPoints="1"/>
            </p:cNvSpPr>
            <p:nvPr/>
          </p:nvSpPr>
          <p:spPr bwMode="auto">
            <a:xfrm>
              <a:off x="8810632" y="8693150"/>
              <a:ext cx="787400" cy="658813"/>
            </a:xfrm>
            <a:custGeom>
              <a:avLst/>
              <a:gdLst>
                <a:gd name="T0" fmla="*/ 176 w 183"/>
                <a:gd name="T1" fmla="*/ 153 h 153"/>
                <a:gd name="T2" fmla="*/ 7 w 183"/>
                <a:gd name="T3" fmla="*/ 153 h 153"/>
                <a:gd name="T4" fmla="*/ 0 w 183"/>
                <a:gd name="T5" fmla="*/ 145 h 153"/>
                <a:gd name="T6" fmla="*/ 0 w 183"/>
                <a:gd name="T7" fmla="*/ 29 h 153"/>
                <a:gd name="T8" fmla="*/ 0 w 183"/>
                <a:gd name="T9" fmla="*/ 28 h 153"/>
                <a:gd name="T10" fmla="*/ 0 w 183"/>
                <a:gd name="T11" fmla="*/ 28 h 153"/>
                <a:gd name="T12" fmla="*/ 0 w 183"/>
                <a:gd name="T13" fmla="*/ 7 h 153"/>
                <a:gd name="T14" fmla="*/ 7 w 183"/>
                <a:gd name="T15" fmla="*/ 0 h 153"/>
                <a:gd name="T16" fmla="*/ 176 w 183"/>
                <a:gd name="T17" fmla="*/ 0 h 153"/>
                <a:gd name="T18" fmla="*/ 183 w 183"/>
                <a:gd name="T19" fmla="*/ 7 h 153"/>
                <a:gd name="T20" fmla="*/ 183 w 183"/>
                <a:gd name="T21" fmla="*/ 28 h 153"/>
                <a:gd name="T22" fmla="*/ 183 w 183"/>
                <a:gd name="T23" fmla="*/ 28 h 153"/>
                <a:gd name="T24" fmla="*/ 183 w 183"/>
                <a:gd name="T25" fmla="*/ 29 h 153"/>
                <a:gd name="T26" fmla="*/ 183 w 183"/>
                <a:gd name="T27" fmla="*/ 145 h 153"/>
                <a:gd name="T28" fmla="*/ 176 w 183"/>
                <a:gd name="T29" fmla="*/ 153 h 153"/>
                <a:gd name="T30" fmla="*/ 6 w 183"/>
                <a:gd name="T31" fmla="*/ 32 h 153"/>
                <a:gd name="T32" fmla="*/ 6 w 183"/>
                <a:gd name="T33" fmla="*/ 145 h 153"/>
                <a:gd name="T34" fmla="*/ 7 w 183"/>
                <a:gd name="T35" fmla="*/ 147 h 153"/>
                <a:gd name="T36" fmla="*/ 176 w 183"/>
                <a:gd name="T37" fmla="*/ 147 h 153"/>
                <a:gd name="T38" fmla="*/ 177 w 183"/>
                <a:gd name="T39" fmla="*/ 145 h 153"/>
                <a:gd name="T40" fmla="*/ 177 w 183"/>
                <a:gd name="T41" fmla="*/ 32 h 153"/>
                <a:gd name="T42" fmla="*/ 6 w 183"/>
                <a:gd name="T43" fmla="*/ 32 h 153"/>
                <a:gd name="T44" fmla="*/ 6 w 183"/>
                <a:gd name="T45" fmla="*/ 25 h 153"/>
                <a:gd name="T46" fmla="*/ 177 w 183"/>
                <a:gd name="T47" fmla="*/ 25 h 153"/>
                <a:gd name="T48" fmla="*/ 177 w 183"/>
                <a:gd name="T49" fmla="*/ 7 h 153"/>
                <a:gd name="T50" fmla="*/ 176 w 183"/>
                <a:gd name="T51" fmla="*/ 6 h 153"/>
                <a:gd name="T52" fmla="*/ 7 w 183"/>
                <a:gd name="T53" fmla="*/ 6 h 153"/>
                <a:gd name="T54" fmla="*/ 6 w 183"/>
                <a:gd name="T55" fmla="*/ 7 h 153"/>
                <a:gd name="T56" fmla="*/ 6 w 183"/>
                <a:gd name="T57" fmla="*/ 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 h="153">
                  <a:moveTo>
                    <a:pt x="176" y="153"/>
                  </a:moveTo>
                  <a:cubicBezTo>
                    <a:pt x="7" y="153"/>
                    <a:pt x="7" y="153"/>
                    <a:pt x="7" y="153"/>
                  </a:cubicBezTo>
                  <a:cubicBezTo>
                    <a:pt x="3" y="153"/>
                    <a:pt x="0" y="149"/>
                    <a:pt x="0" y="145"/>
                  </a:cubicBezTo>
                  <a:cubicBezTo>
                    <a:pt x="0" y="29"/>
                    <a:pt x="0" y="29"/>
                    <a:pt x="0" y="29"/>
                  </a:cubicBezTo>
                  <a:cubicBezTo>
                    <a:pt x="0" y="29"/>
                    <a:pt x="0" y="29"/>
                    <a:pt x="0" y="28"/>
                  </a:cubicBezTo>
                  <a:cubicBezTo>
                    <a:pt x="0" y="28"/>
                    <a:pt x="0" y="28"/>
                    <a:pt x="0" y="28"/>
                  </a:cubicBezTo>
                  <a:cubicBezTo>
                    <a:pt x="0" y="7"/>
                    <a:pt x="0" y="7"/>
                    <a:pt x="0" y="7"/>
                  </a:cubicBezTo>
                  <a:cubicBezTo>
                    <a:pt x="0" y="3"/>
                    <a:pt x="3" y="0"/>
                    <a:pt x="7" y="0"/>
                  </a:cubicBezTo>
                  <a:cubicBezTo>
                    <a:pt x="176" y="0"/>
                    <a:pt x="176" y="0"/>
                    <a:pt x="176" y="0"/>
                  </a:cubicBezTo>
                  <a:cubicBezTo>
                    <a:pt x="180" y="0"/>
                    <a:pt x="183" y="3"/>
                    <a:pt x="183" y="7"/>
                  </a:cubicBezTo>
                  <a:cubicBezTo>
                    <a:pt x="183" y="28"/>
                    <a:pt x="183" y="28"/>
                    <a:pt x="183" y="28"/>
                  </a:cubicBezTo>
                  <a:cubicBezTo>
                    <a:pt x="183" y="28"/>
                    <a:pt x="183" y="28"/>
                    <a:pt x="183" y="28"/>
                  </a:cubicBezTo>
                  <a:cubicBezTo>
                    <a:pt x="183" y="29"/>
                    <a:pt x="183" y="29"/>
                    <a:pt x="183" y="29"/>
                  </a:cubicBezTo>
                  <a:cubicBezTo>
                    <a:pt x="183" y="145"/>
                    <a:pt x="183" y="145"/>
                    <a:pt x="183" y="145"/>
                  </a:cubicBezTo>
                  <a:cubicBezTo>
                    <a:pt x="183" y="149"/>
                    <a:pt x="180" y="153"/>
                    <a:pt x="176" y="153"/>
                  </a:cubicBezTo>
                  <a:close/>
                  <a:moveTo>
                    <a:pt x="6" y="32"/>
                  </a:moveTo>
                  <a:cubicBezTo>
                    <a:pt x="6" y="145"/>
                    <a:pt x="6" y="145"/>
                    <a:pt x="6" y="145"/>
                  </a:cubicBezTo>
                  <a:cubicBezTo>
                    <a:pt x="6" y="146"/>
                    <a:pt x="7" y="147"/>
                    <a:pt x="7" y="147"/>
                  </a:cubicBezTo>
                  <a:cubicBezTo>
                    <a:pt x="176" y="147"/>
                    <a:pt x="176" y="147"/>
                    <a:pt x="176" y="147"/>
                  </a:cubicBezTo>
                  <a:cubicBezTo>
                    <a:pt x="177" y="147"/>
                    <a:pt x="177" y="146"/>
                    <a:pt x="177" y="145"/>
                  </a:cubicBezTo>
                  <a:cubicBezTo>
                    <a:pt x="177" y="32"/>
                    <a:pt x="177" y="32"/>
                    <a:pt x="177" y="32"/>
                  </a:cubicBezTo>
                  <a:lnTo>
                    <a:pt x="6" y="32"/>
                  </a:lnTo>
                  <a:close/>
                  <a:moveTo>
                    <a:pt x="6" y="25"/>
                  </a:moveTo>
                  <a:cubicBezTo>
                    <a:pt x="177" y="25"/>
                    <a:pt x="177" y="25"/>
                    <a:pt x="177" y="25"/>
                  </a:cubicBezTo>
                  <a:cubicBezTo>
                    <a:pt x="177" y="7"/>
                    <a:pt x="177" y="7"/>
                    <a:pt x="177" y="7"/>
                  </a:cubicBezTo>
                  <a:cubicBezTo>
                    <a:pt x="177" y="6"/>
                    <a:pt x="177" y="6"/>
                    <a:pt x="176" y="6"/>
                  </a:cubicBezTo>
                  <a:cubicBezTo>
                    <a:pt x="7" y="6"/>
                    <a:pt x="7" y="6"/>
                    <a:pt x="7" y="6"/>
                  </a:cubicBezTo>
                  <a:cubicBezTo>
                    <a:pt x="7" y="6"/>
                    <a:pt x="6" y="6"/>
                    <a:pt x="6" y="7"/>
                  </a:cubicBezTo>
                  <a:lnTo>
                    <a:pt x="6"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grpSp>
      <p:sp>
        <p:nvSpPr>
          <p:cNvPr id="128" name="Flowchart: Connector 127">
            <a:extLst>
              <a:ext uri="{FF2B5EF4-FFF2-40B4-BE49-F238E27FC236}">
                <a16:creationId xmlns:a16="http://schemas.microsoft.com/office/drawing/2014/main" id="{5291E72A-4C5D-4F04-B3FC-B1C99FA4A83B}"/>
              </a:ext>
            </a:extLst>
          </p:cNvPr>
          <p:cNvSpPr/>
          <p:nvPr/>
        </p:nvSpPr>
        <p:spPr>
          <a:xfrm>
            <a:off x="5562843" y="1566249"/>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mj-lt"/>
              <a:ea typeface="+mn-ea"/>
              <a:cs typeface="+mn-cs"/>
            </a:endParaRPr>
          </a:p>
        </p:txBody>
      </p:sp>
      <p:sp>
        <p:nvSpPr>
          <p:cNvPr id="129" name="Flowchart: Connector 128">
            <a:extLst>
              <a:ext uri="{FF2B5EF4-FFF2-40B4-BE49-F238E27FC236}">
                <a16:creationId xmlns:a16="http://schemas.microsoft.com/office/drawing/2014/main" id="{DD9A678A-B7AC-4FB1-ADE9-ED6A5015DFAD}"/>
              </a:ext>
            </a:extLst>
          </p:cNvPr>
          <p:cNvSpPr/>
          <p:nvPr/>
        </p:nvSpPr>
        <p:spPr>
          <a:xfrm>
            <a:off x="9257136" y="1549769"/>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mj-lt"/>
              <a:ea typeface="+mn-ea"/>
              <a:cs typeface="+mn-cs"/>
            </a:endParaRPr>
          </a:p>
        </p:txBody>
      </p:sp>
      <p:sp>
        <p:nvSpPr>
          <p:cNvPr id="130" name="TextBox 129">
            <a:extLst>
              <a:ext uri="{FF2B5EF4-FFF2-40B4-BE49-F238E27FC236}">
                <a16:creationId xmlns:a16="http://schemas.microsoft.com/office/drawing/2014/main" id="{8D74824D-27AD-4805-906F-801C594C8163}"/>
              </a:ext>
            </a:extLst>
          </p:cNvPr>
          <p:cNvSpPr txBox="1"/>
          <p:nvPr/>
        </p:nvSpPr>
        <p:spPr>
          <a:xfrm>
            <a:off x="8040788" y="2780949"/>
            <a:ext cx="3353761" cy="1838801"/>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b" anchorCtr="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mj-lt"/>
                <a:ea typeface="+mn-ea"/>
                <a:cs typeface="+mn-cs"/>
              </a:rPr>
              <a:t>Lower TCO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1" u="none" strike="noStrike" kern="0" cap="none" spc="0" normalizeH="0" baseline="0" noProof="0" dirty="0">
              <a:ln>
                <a:noFill/>
              </a:ln>
              <a:solidFill>
                <a:prstClr val="black"/>
              </a:solidFill>
              <a:effectLst/>
              <a:uLnTx/>
              <a:uFillTx/>
              <a:latin typeface="+mj-lt"/>
              <a:ea typeface="+mn-ea"/>
              <a:cs typeface="+mn-cs"/>
            </a:endParaRPr>
          </a:p>
          <a:p>
            <a:pPr lvl="0" algn="ctr" defTabSz="457200"/>
            <a:r>
              <a:rPr lang="en-GB" kern="0" dirty="0">
                <a:solidFill>
                  <a:prstClr val="black"/>
                </a:solidFill>
                <a:latin typeface="+mj-lt"/>
              </a:rPr>
              <a:t>End of term costs of decommission, collection, data wiping and disposal all included​</a:t>
            </a:r>
          </a:p>
        </p:txBody>
      </p:sp>
      <p:sp>
        <p:nvSpPr>
          <p:cNvPr id="131" name="Freeform 46">
            <a:extLst>
              <a:ext uri="{FF2B5EF4-FFF2-40B4-BE49-F238E27FC236}">
                <a16:creationId xmlns:a16="http://schemas.microsoft.com/office/drawing/2014/main" id="{34122004-15B6-40C1-82CE-0544B8217C5B}"/>
              </a:ext>
            </a:extLst>
          </p:cNvPr>
          <p:cNvSpPr>
            <a:spLocks noEditPoints="1"/>
          </p:cNvSpPr>
          <p:nvPr/>
        </p:nvSpPr>
        <p:spPr bwMode="auto">
          <a:xfrm>
            <a:off x="5876775" y="1824617"/>
            <a:ext cx="446496" cy="537493"/>
          </a:xfrm>
          <a:custGeom>
            <a:avLst/>
            <a:gdLst>
              <a:gd name="T0" fmla="*/ 11 w 211"/>
              <a:gd name="T1" fmla="*/ 140 h 190"/>
              <a:gd name="T2" fmla="*/ 0 w 211"/>
              <a:gd name="T3" fmla="*/ 21 h 190"/>
              <a:gd name="T4" fmla="*/ 190 w 211"/>
              <a:gd name="T5" fmla="*/ 103 h 190"/>
              <a:gd name="T6" fmla="*/ 127 w 211"/>
              <a:gd name="T7" fmla="*/ 189 h 190"/>
              <a:gd name="T8" fmla="*/ 124 w 211"/>
              <a:gd name="T9" fmla="*/ 166 h 190"/>
              <a:gd name="T10" fmla="*/ 102 w 211"/>
              <a:gd name="T11" fmla="*/ 185 h 190"/>
              <a:gd name="T12" fmla="*/ 129 w 211"/>
              <a:gd name="T13" fmla="*/ 183 h 190"/>
              <a:gd name="T14" fmla="*/ 69 w 211"/>
              <a:gd name="T15" fmla="*/ 165 h 190"/>
              <a:gd name="T16" fmla="*/ 148 w 211"/>
              <a:gd name="T17" fmla="*/ 163 h 190"/>
              <a:gd name="T18" fmla="*/ 52 w 211"/>
              <a:gd name="T19" fmla="*/ 161 h 190"/>
              <a:gd name="T20" fmla="*/ 52 w 211"/>
              <a:gd name="T21" fmla="*/ 161 h 190"/>
              <a:gd name="T22" fmla="*/ 177 w 211"/>
              <a:gd name="T23" fmla="*/ 158 h 190"/>
              <a:gd name="T24" fmla="*/ 45 w 211"/>
              <a:gd name="T25" fmla="*/ 160 h 190"/>
              <a:gd name="T26" fmla="*/ 27 w 211"/>
              <a:gd name="T27" fmla="*/ 155 h 190"/>
              <a:gd name="T28" fmla="*/ 195 w 211"/>
              <a:gd name="T29" fmla="*/ 152 h 190"/>
              <a:gd name="T30" fmla="*/ 118 w 211"/>
              <a:gd name="T31" fmla="*/ 160 h 190"/>
              <a:gd name="T32" fmla="*/ 155 w 211"/>
              <a:gd name="T33" fmla="*/ 145 h 190"/>
              <a:gd name="T34" fmla="*/ 16 w 211"/>
              <a:gd name="T35" fmla="*/ 141 h 190"/>
              <a:gd name="T36" fmla="*/ 113 w 211"/>
              <a:gd name="T37" fmla="*/ 146 h 190"/>
              <a:gd name="T38" fmla="*/ 89 w 211"/>
              <a:gd name="T39" fmla="*/ 146 h 190"/>
              <a:gd name="T40" fmla="*/ 59 w 211"/>
              <a:gd name="T41" fmla="*/ 144 h 190"/>
              <a:gd name="T42" fmla="*/ 118 w 211"/>
              <a:gd name="T43" fmla="*/ 126 h 190"/>
              <a:gd name="T44" fmla="*/ 41 w 211"/>
              <a:gd name="T45" fmla="*/ 122 h 190"/>
              <a:gd name="T46" fmla="*/ 41 w 211"/>
              <a:gd name="T47" fmla="*/ 122 h 190"/>
              <a:gd name="T48" fmla="*/ 148 w 211"/>
              <a:gd name="T49" fmla="*/ 122 h 190"/>
              <a:gd name="T50" fmla="*/ 167 w 211"/>
              <a:gd name="T51" fmla="*/ 119 h 190"/>
              <a:gd name="T52" fmla="*/ 35 w 211"/>
              <a:gd name="T53" fmla="*/ 140 h 190"/>
              <a:gd name="T54" fmla="*/ 6 w 211"/>
              <a:gd name="T55" fmla="*/ 111 h 190"/>
              <a:gd name="T56" fmla="*/ 172 w 211"/>
              <a:gd name="T57" fmla="*/ 134 h 190"/>
              <a:gd name="T58" fmla="*/ 5 w 211"/>
              <a:gd name="T59" fmla="*/ 103 h 190"/>
              <a:gd name="T60" fmla="*/ 179 w 211"/>
              <a:gd name="T61" fmla="*/ 106 h 190"/>
              <a:gd name="T62" fmla="*/ 23 w 211"/>
              <a:gd name="T63" fmla="*/ 93 h 190"/>
              <a:gd name="T64" fmla="*/ 109 w 211"/>
              <a:gd name="T65" fmla="*/ 87 h 190"/>
              <a:gd name="T66" fmla="*/ 135 w 211"/>
              <a:gd name="T67" fmla="*/ 105 h 190"/>
              <a:gd name="T68" fmla="*/ 91 w 211"/>
              <a:gd name="T69" fmla="*/ 106 h 190"/>
              <a:gd name="T70" fmla="*/ 141 w 211"/>
              <a:gd name="T71" fmla="*/ 106 h 190"/>
              <a:gd name="T72" fmla="*/ 62 w 211"/>
              <a:gd name="T73" fmla="*/ 103 h 190"/>
              <a:gd name="T74" fmla="*/ 159 w 211"/>
              <a:gd name="T75" fmla="*/ 84 h 190"/>
              <a:gd name="T76" fmla="*/ 169 w 211"/>
              <a:gd name="T77" fmla="*/ 83 h 190"/>
              <a:gd name="T78" fmla="*/ 188 w 211"/>
              <a:gd name="T79" fmla="*/ 99 h 190"/>
              <a:gd name="T80" fmla="*/ 56 w 211"/>
              <a:gd name="T81" fmla="*/ 101 h 190"/>
              <a:gd name="T82" fmla="*/ 194 w 211"/>
              <a:gd name="T83" fmla="*/ 96 h 190"/>
              <a:gd name="T84" fmla="*/ 26 w 211"/>
              <a:gd name="T85" fmla="*/ 89 h 190"/>
              <a:gd name="T86" fmla="*/ 26 w 211"/>
              <a:gd name="T87" fmla="*/ 63 h 190"/>
              <a:gd name="T88" fmla="*/ 184 w 211"/>
              <a:gd name="T89" fmla="*/ 53 h 190"/>
              <a:gd name="T90" fmla="*/ 87 w 211"/>
              <a:gd name="T91" fmla="*/ 69 h 190"/>
              <a:gd name="T92" fmla="*/ 77 w 211"/>
              <a:gd name="T93" fmla="*/ 64 h 190"/>
              <a:gd name="T94" fmla="*/ 102 w 211"/>
              <a:gd name="T95" fmla="*/ 44 h 190"/>
              <a:gd name="T96" fmla="*/ 113 w 211"/>
              <a:gd name="T97" fmla="*/ 44 h 190"/>
              <a:gd name="T98" fmla="*/ 131 w 211"/>
              <a:gd name="T99" fmla="*/ 44 h 190"/>
              <a:gd name="T100" fmla="*/ 71 w 211"/>
              <a:gd name="T101" fmla="*/ 62 h 190"/>
              <a:gd name="T102" fmla="*/ 148 w 211"/>
              <a:gd name="T103" fmla="*/ 60 h 190"/>
              <a:gd name="T104" fmla="*/ 48 w 211"/>
              <a:gd name="T105" fmla="*/ 61 h 190"/>
              <a:gd name="T106" fmla="*/ 22 w 211"/>
              <a:gd name="T107" fmla="*/ 55 h 190"/>
              <a:gd name="T108" fmla="*/ 166 w 211"/>
              <a:gd name="T109" fmla="*/ 36 h 190"/>
              <a:gd name="T110" fmla="*/ 166 w 211"/>
              <a:gd name="T111" fmla="*/ 36 h 190"/>
              <a:gd name="T112" fmla="*/ 6 w 211"/>
              <a:gd name="T113" fmla="*/ 29 h 190"/>
              <a:gd name="T114" fmla="*/ 185 w 211"/>
              <a:gd name="T115" fmla="*/ 45 h 190"/>
              <a:gd name="T116" fmla="*/ 107 w 211"/>
              <a:gd name="T117" fmla="*/ 3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1" h="190">
                <a:moveTo>
                  <a:pt x="105" y="190"/>
                </a:moveTo>
                <a:cubicBezTo>
                  <a:pt x="99" y="190"/>
                  <a:pt x="92" y="190"/>
                  <a:pt x="84" y="189"/>
                </a:cubicBezTo>
                <a:cubicBezTo>
                  <a:pt x="84" y="189"/>
                  <a:pt x="84" y="189"/>
                  <a:pt x="84" y="189"/>
                </a:cubicBezTo>
                <a:cubicBezTo>
                  <a:pt x="84" y="189"/>
                  <a:pt x="84" y="189"/>
                  <a:pt x="84" y="189"/>
                </a:cubicBezTo>
                <a:cubicBezTo>
                  <a:pt x="78" y="189"/>
                  <a:pt x="72" y="188"/>
                  <a:pt x="67" y="188"/>
                </a:cubicBezTo>
                <a:cubicBezTo>
                  <a:pt x="66" y="188"/>
                  <a:pt x="66" y="188"/>
                  <a:pt x="66" y="188"/>
                </a:cubicBezTo>
                <a:cubicBezTo>
                  <a:pt x="66" y="188"/>
                  <a:pt x="66" y="188"/>
                  <a:pt x="66" y="188"/>
                </a:cubicBezTo>
                <a:cubicBezTo>
                  <a:pt x="66" y="188"/>
                  <a:pt x="66" y="188"/>
                  <a:pt x="66" y="188"/>
                </a:cubicBezTo>
                <a:cubicBezTo>
                  <a:pt x="31" y="184"/>
                  <a:pt x="10" y="176"/>
                  <a:pt x="10" y="166"/>
                </a:cubicBezTo>
                <a:cubicBezTo>
                  <a:pt x="10" y="142"/>
                  <a:pt x="10" y="142"/>
                  <a:pt x="10" y="142"/>
                </a:cubicBezTo>
                <a:cubicBezTo>
                  <a:pt x="10" y="142"/>
                  <a:pt x="10" y="141"/>
                  <a:pt x="10" y="141"/>
                </a:cubicBezTo>
                <a:cubicBezTo>
                  <a:pt x="10" y="141"/>
                  <a:pt x="11" y="140"/>
                  <a:pt x="11" y="140"/>
                </a:cubicBezTo>
                <a:cubicBezTo>
                  <a:pt x="11" y="139"/>
                  <a:pt x="11" y="138"/>
                  <a:pt x="10" y="138"/>
                </a:cubicBezTo>
                <a:cubicBezTo>
                  <a:pt x="3" y="135"/>
                  <a:pt x="0" y="131"/>
                  <a:pt x="0" y="127"/>
                </a:cubicBezTo>
                <a:cubicBezTo>
                  <a:pt x="0" y="102"/>
                  <a:pt x="0" y="102"/>
                  <a:pt x="0" y="102"/>
                </a:cubicBezTo>
                <a:cubicBezTo>
                  <a:pt x="0" y="102"/>
                  <a:pt x="0" y="102"/>
                  <a:pt x="0" y="102"/>
                </a:cubicBezTo>
                <a:cubicBezTo>
                  <a:pt x="0" y="97"/>
                  <a:pt x="7" y="92"/>
                  <a:pt x="20" y="89"/>
                </a:cubicBezTo>
                <a:cubicBezTo>
                  <a:pt x="21" y="89"/>
                  <a:pt x="21" y="88"/>
                  <a:pt x="21" y="88"/>
                </a:cubicBezTo>
                <a:cubicBezTo>
                  <a:pt x="21" y="63"/>
                  <a:pt x="21" y="63"/>
                  <a:pt x="21" y="63"/>
                </a:cubicBezTo>
                <a:cubicBezTo>
                  <a:pt x="21" y="63"/>
                  <a:pt x="21" y="63"/>
                  <a:pt x="21" y="63"/>
                </a:cubicBezTo>
                <a:cubicBezTo>
                  <a:pt x="21" y="63"/>
                  <a:pt x="21" y="62"/>
                  <a:pt x="21" y="61"/>
                </a:cubicBezTo>
                <a:cubicBezTo>
                  <a:pt x="21" y="61"/>
                  <a:pt x="21" y="60"/>
                  <a:pt x="21" y="60"/>
                </a:cubicBezTo>
                <a:cubicBezTo>
                  <a:pt x="7" y="56"/>
                  <a:pt x="0" y="51"/>
                  <a:pt x="0" y="45"/>
                </a:cubicBezTo>
                <a:cubicBezTo>
                  <a:pt x="0" y="21"/>
                  <a:pt x="0" y="21"/>
                  <a:pt x="0" y="21"/>
                </a:cubicBezTo>
                <a:cubicBezTo>
                  <a:pt x="0" y="21"/>
                  <a:pt x="0" y="20"/>
                  <a:pt x="0" y="20"/>
                </a:cubicBezTo>
                <a:cubicBezTo>
                  <a:pt x="1" y="4"/>
                  <a:pt x="60" y="0"/>
                  <a:pt x="95" y="0"/>
                </a:cubicBezTo>
                <a:cubicBezTo>
                  <a:pt x="129" y="0"/>
                  <a:pt x="189" y="4"/>
                  <a:pt x="190" y="20"/>
                </a:cubicBezTo>
                <a:cubicBezTo>
                  <a:pt x="190" y="20"/>
                  <a:pt x="190" y="21"/>
                  <a:pt x="190" y="21"/>
                </a:cubicBezTo>
                <a:cubicBezTo>
                  <a:pt x="190" y="45"/>
                  <a:pt x="190" y="45"/>
                  <a:pt x="190" y="45"/>
                </a:cubicBezTo>
                <a:cubicBezTo>
                  <a:pt x="190" y="46"/>
                  <a:pt x="189" y="47"/>
                  <a:pt x="189" y="48"/>
                </a:cubicBezTo>
                <a:cubicBezTo>
                  <a:pt x="189" y="48"/>
                  <a:pt x="189" y="49"/>
                  <a:pt x="189" y="49"/>
                </a:cubicBezTo>
                <a:cubicBezTo>
                  <a:pt x="189" y="49"/>
                  <a:pt x="189" y="50"/>
                  <a:pt x="190" y="50"/>
                </a:cubicBezTo>
                <a:cubicBezTo>
                  <a:pt x="204" y="53"/>
                  <a:pt x="211" y="58"/>
                  <a:pt x="211" y="63"/>
                </a:cubicBezTo>
                <a:cubicBezTo>
                  <a:pt x="211" y="63"/>
                  <a:pt x="211" y="63"/>
                  <a:pt x="211" y="63"/>
                </a:cubicBezTo>
                <a:cubicBezTo>
                  <a:pt x="211" y="88"/>
                  <a:pt x="211" y="88"/>
                  <a:pt x="211" y="88"/>
                </a:cubicBezTo>
                <a:cubicBezTo>
                  <a:pt x="211" y="93"/>
                  <a:pt x="204" y="99"/>
                  <a:pt x="190" y="103"/>
                </a:cubicBezTo>
                <a:cubicBezTo>
                  <a:pt x="190" y="103"/>
                  <a:pt x="190" y="103"/>
                  <a:pt x="190" y="104"/>
                </a:cubicBezTo>
                <a:cubicBezTo>
                  <a:pt x="190" y="127"/>
                  <a:pt x="190" y="127"/>
                  <a:pt x="190" y="127"/>
                </a:cubicBezTo>
                <a:cubicBezTo>
                  <a:pt x="190" y="128"/>
                  <a:pt x="189" y="129"/>
                  <a:pt x="189" y="130"/>
                </a:cubicBezTo>
                <a:cubicBezTo>
                  <a:pt x="189" y="130"/>
                  <a:pt x="189" y="130"/>
                  <a:pt x="189" y="131"/>
                </a:cubicBezTo>
                <a:cubicBezTo>
                  <a:pt x="189" y="131"/>
                  <a:pt x="189" y="131"/>
                  <a:pt x="190" y="131"/>
                </a:cubicBezTo>
                <a:cubicBezTo>
                  <a:pt x="197" y="134"/>
                  <a:pt x="200" y="137"/>
                  <a:pt x="200" y="141"/>
                </a:cubicBezTo>
                <a:cubicBezTo>
                  <a:pt x="200" y="142"/>
                  <a:pt x="200" y="142"/>
                  <a:pt x="200" y="142"/>
                </a:cubicBezTo>
                <a:cubicBezTo>
                  <a:pt x="200" y="166"/>
                  <a:pt x="200" y="166"/>
                  <a:pt x="200" y="166"/>
                </a:cubicBezTo>
                <a:cubicBezTo>
                  <a:pt x="200" y="176"/>
                  <a:pt x="180" y="184"/>
                  <a:pt x="145" y="188"/>
                </a:cubicBezTo>
                <a:cubicBezTo>
                  <a:pt x="145" y="188"/>
                  <a:pt x="145" y="188"/>
                  <a:pt x="145" y="188"/>
                </a:cubicBezTo>
                <a:cubicBezTo>
                  <a:pt x="145" y="188"/>
                  <a:pt x="144" y="188"/>
                  <a:pt x="144" y="188"/>
                </a:cubicBezTo>
                <a:cubicBezTo>
                  <a:pt x="139" y="188"/>
                  <a:pt x="133" y="189"/>
                  <a:pt x="127" y="189"/>
                </a:cubicBezTo>
                <a:cubicBezTo>
                  <a:pt x="127" y="189"/>
                  <a:pt x="127" y="189"/>
                  <a:pt x="127" y="189"/>
                </a:cubicBezTo>
                <a:cubicBezTo>
                  <a:pt x="127" y="189"/>
                  <a:pt x="127" y="189"/>
                  <a:pt x="127" y="189"/>
                </a:cubicBezTo>
                <a:cubicBezTo>
                  <a:pt x="119" y="190"/>
                  <a:pt x="112" y="190"/>
                  <a:pt x="105" y="190"/>
                </a:cubicBezTo>
                <a:close/>
                <a:moveTo>
                  <a:pt x="109" y="165"/>
                </a:moveTo>
                <a:cubicBezTo>
                  <a:pt x="108" y="165"/>
                  <a:pt x="108" y="166"/>
                  <a:pt x="108" y="166"/>
                </a:cubicBezTo>
                <a:cubicBezTo>
                  <a:pt x="108" y="184"/>
                  <a:pt x="108" y="184"/>
                  <a:pt x="108" y="184"/>
                </a:cubicBezTo>
                <a:cubicBezTo>
                  <a:pt x="108" y="184"/>
                  <a:pt x="108" y="185"/>
                  <a:pt x="108" y="185"/>
                </a:cubicBezTo>
                <a:cubicBezTo>
                  <a:pt x="108" y="185"/>
                  <a:pt x="109" y="185"/>
                  <a:pt x="109" y="185"/>
                </a:cubicBezTo>
                <a:cubicBezTo>
                  <a:pt x="109" y="185"/>
                  <a:pt x="109" y="185"/>
                  <a:pt x="109" y="185"/>
                </a:cubicBezTo>
                <a:cubicBezTo>
                  <a:pt x="114" y="185"/>
                  <a:pt x="118" y="185"/>
                  <a:pt x="123" y="185"/>
                </a:cubicBezTo>
                <a:cubicBezTo>
                  <a:pt x="124" y="185"/>
                  <a:pt x="124" y="184"/>
                  <a:pt x="124" y="184"/>
                </a:cubicBezTo>
                <a:cubicBezTo>
                  <a:pt x="124" y="166"/>
                  <a:pt x="124" y="166"/>
                  <a:pt x="124" y="166"/>
                </a:cubicBezTo>
                <a:cubicBezTo>
                  <a:pt x="124" y="166"/>
                  <a:pt x="124" y="165"/>
                  <a:pt x="124" y="165"/>
                </a:cubicBezTo>
                <a:cubicBezTo>
                  <a:pt x="124" y="165"/>
                  <a:pt x="123" y="165"/>
                  <a:pt x="123" y="165"/>
                </a:cubicBezTo>
                <a:cubicBezTo>
                  <a:pt x="123" y="165"/>
                  <a:pt x="123" y="165"/>
                  <a:pt x="123" y="165"/>
                </a:cubicBezTo>
                <a:cubicBezTo>
                  <a:pt x="120" y="165"/>
                  <a:pt x="116" y="165"/>
                  <a:pt x="112" y="165"/>
                </a:cubicBezTo>
                <a:cubicBezTo>
                  <a:pt x="112" y="165"/>
                  <a:pt x="112" y="165"/>
                  <a:pt x="112" y="165"/>
                </a:cubicBezTo>
                <a:cubicBezTo>
                  <a:pt x="112" y="165"/>
                  <a:pt x="109" y="165"/>
                  <a:pt x="109" y="165"/>
                </a:cubicBezTo>
                <a:close/>
                <a:moveTo>
                  <a:pt x="88" y="165"/>
                </a:moveTo>
                <a:cubicBezTo>
                  <a:pt x="87" y="165"/>
                  <a:pt x="87" y="165"/>
                  <a:pt x="87" y="165"/>
                </a:cubicBezTo>
                <a:cubicBezTo>
                  <a:pt x="87" y="165"/>
                  <a:pt x="86" y="166"/>
                  <a:pt x="86" y="166"/>
                </a:cubicBezTo>
                <a:cubicBezTo>
                  <a:pt x="86" y="184"/>
                  <a:pt x="86" y="184"/>
                  <a:pt x="86" y="184"/>
                </a:cubicBezTo>
                <a:cubicBezTo>
                  <a:pt x="86" y="184"/>
                  <a:pt x="87" y="185"/>
                  <a:pt x="88" y="185"/>
                </a:cubicBezTo>
                <a:cubicBezTo>
                  <a:pt x="92" y="185"/>
                  <a:pt x="97" y="185"/>
                  <a:pt x="102" y="185"/>
                </a:cubicBezTo>
                <a:cubicBezTo>
                  <a:pt x="102" y="185"/>
                  <a:pt x="102" y="185"/>
                  <a:pt x="102" y="185"/>
                </a:cubicBezTo>
                <a:cubicBezTo>
                  <a:pt x="102" y="185"/>
                  <a:pt x="102" y="185"/>
                  <a:pt x="103" y="185"/>
                </a:cubicBezTo>
                <a:cubicBezTo>
                  <a:pt x="103" y="185"/>
                  <a:pt x="103" y="184"/>
                  <a:pt x="103" y="184"/>
                </a:cubicBezTo>
                <a:cubicBezTo>
                  <a:pt x="103" y="166"/>
                  <a:pt x="103" y="166"/>
                  <a:pt x="103" y="166"/>
                </a:cubicBezTo>
                <a:cubicBezTo>
                  <a:pt x="103" y="166"/>
                  <a:pt x="102" y="165"/>
                  <a:pt x="102" y="165"/>
                </a:cubicBezTo>
                <a:cubicBezTo>
                  <a:pt x="98" y="165"/>
                  <a:pt x="98" y="165"/>
                  <a:pt x="98" y="165"/>
                </a:cubicBezTo>
                <a:cubicBezTo>
                  <a:pt x="95" y="165"/>
                  <a:pt x="91" y="165"/>
                  <a:pt x="88" y="165"/>
                </a:cubicBezTo>
                <a:cubicBezTo>
                  <a:pt x="88" y="165"/>
                  <a:pt x="88" y="165"/>
                  <a:pt x="88" y="165"/>
                </a:cubicBezTo>
                <a:close/>
                <a:moveTo>
                  <a:pt x="141" y="163"/>
                </a:moveTo>
                <a:cubicBezTo>
                  <a:pt x="137" y="164"/>
                  <a:pt x="134" y="164"/>
                  <a:pt x="130" y="164"/>
                </a:cubicBezTo>
                <a:cubicBezTo>
                  <a:pt x="130" y="164"/>
                  <a:pt x="129" y="165"/>
                  <a:pt x="129" y="165"/>
                </a:cubicBezTo>
                <a:cubicBezTo>
                  <a:pt x="129" y="183"/>
                  <a:pt x="129" y="183"/>
                  <a:pt x="129" y="183"/>
                </a:cubicBezTo>
                <a:cubicBezTo>
                  <a:pt x="129" y="184"/>
                  <a:pt x="129" y="184"/>
                  <a:pt x="130" y="184"/>
                </a:cubicBezTo>
                <a:cubicBezTo>
                  <a:pt x="130" y="184"/>
                  <a:pt x="130" y="184"/>
                  <a:pt x="130" y="184"/>
                </a:cubicBezTo>
                <a:cubicBezTo>
                  <a:pt x="130" y="184"/>
                  <a:pt x="130" y="184"/>
                  <a:pt x="130" y="184"/>
                </a:cubicBezTo>
                <a:cubicBezTo>
                  <a:pt x="134" y="184"/>
                  <a:pt x="138" y="184"/>
                  <a:pt x="141" y="183"/>
                </a:cubicBezTo>
                <a:cubicBezTo>
                  <a:pt x="142" y="183"/>
                  <a:pt x="142" y="183"/>
                  <a:pt x="142" y="182"/>
                </a:cubicBezTo>
                <a:cubicBezTo>
                  <a:pt x="142" y="165"/>
                  <a:pt x="142" y="165"/>
                  <a:pt x="142" y="165"/>
                </a:cubicBezTo>
                <a:cubicBezTo>
                  <a:pt x="142" y="164"/>
                  <a:pt x="142" y="164"/>
                  <a:pt x="142" y="164"/>
                </a:cubicBezTo>
                <a:cubicBezTo>
                  <a:pt x="142" y="164"/>
                  <a:pt x="141" y="163"/>
                  <a:pt x="141" y="163"/>
                </a:cubicBezTo>
                <a:cubicBezTo>
                  <a:pt x="141" y="163"/>
                  <a:pt x="141" y="163"/>
                  <a:pt x="141" y="163"/>
                </a:cubicBezTo>
                <a:close/>
                <a:moveTo>
                  <a:pt x="70" y="163"/>
                </a:moveTo>
                <a:cubicBezTo>
                  <a:pt x="69" y="163"/>
                  <a:pt x="69" y="164"/>
                  <a:pt x="69" y="164"/>
                </a:cubicBezTo>
                <a:cubicBezTo>
                  <a:pt x="69" y="164"/>
                  <a:pt x="69" y="164"/>
                  <a:pt x="69" y="165"/>
                </a:cubicBezTo>
                <a:cubicBezTo>
                  <a:pt x="69" y="182"/>
                  <a:pt x="69" y="182"/>
                  <a:pt x="69" y="182"/>
                </a:cubicBezTo>
                <a:cubicBezTo>
                  <a:pt x="69" y="183"/>
                  <a:pt x="69" y="183"/>
                  <a:pt x="70" y="183"/>
                </a:cubicBezTo>
                <a:cubicBezTo>
                  <a:pt x="73" y="184"/>
                  <a:pt x="77" y="184"/>
                  <a:pt x="80" y="184"/>
                </a:cubicBezTo>
                <a:cubicBezTo>
                  <a:pt x="80" y="184"/>
                  <a:pt x="80" y="184"/>
                  <a:pt x="80" y="184"/>
                </a:cubicBezTo>
                <a:cubicBezTo>
                  <a:pt x="81" y="184"/>
                  <a:pt x="81" y="184"/>
                  <a:pt x="81" y="184"/>
                </a:cubicBezTo>
                <a:cubicBezTo>
                  <a:pt x="81" y="184"/>
                  <a:pt x="82" y="184"/>
                  <a:pt x="82" y="183"/>
                </a:cubicBezTo>
                <a:cubicBezTo>
                  <a:pt x="82" y="165"/>
                  <a:pt x="82" y="165"/>
                  <a:pt x="82" y="165"/>
                </a:cubicBezTo>
                <a:cubicBezTo>
                  <a:pt x="82" y="165"/>
                  <a:pt x="81" y="164"/>
                  <a:pt x="81" y="164"/>
                </a:cubicBezTo>
                <a:cubicBezTo>
                  <a:pt x="77" y="164"/>
                  <a:pt x="73" y="164"/>
                  <a:pt x="70" y="163"/>
                </a:cubicBezTo>
                <a:cubicBezTo>
                  <a:pt x="70" y="163"/>
                  <a:pt x="70" y="163"/>
                  <a:pt x="70" y="163"/>
                </a:cubicBezTo>
                <a:close/>
                <a:moveTo>
                  <a:pt x="159" y="161"/>
                </a:moveTo>
                <a:cubicBezTo>
                  <a:pt x="155" y="162"/>
                  <a:pt x="152" y="162"/>
                  <a:pt x="148" y="163"/>
                </a:cubicBezTo>
                <a:cubicBezTo>
                  <a:pt x="147" y="163"/>
                  <a:pt x="147" y="163"/>
                  <a:pt x="147" y="164"/>
                </a:cubicBezTo>
                <a:cubicBezTo>
                  <a:pt x="147" y="181"/>
                  <a:pt x="147" y="181"/>
                  <a:pt x="147" y="181"/>
                </a:cubicBezTo>
                <a:cubicBezTo>
                  <a:pt x="147" y="182"/>
                  <a:pt x="147" y="182"/>
                  <a:pt x="147" y="182"/>
                </a:cubicBezTo>
                <a:cubicBezTo>
                  <a:pt x="148" y="182"/>
                  <a:pt x="148" y="183"/>
                  <a:pt x="148" y="183"/>
                </a:cubicBezTo>
                <a:cubicBezTo>
                  <a:pt x="148" y="183"/>
                  <a:pt x="148" y="183"/>
                  <a:pt x="148" y="183"/>
                </a:cubicBezTo>
                <a:cubicBezTo>
                  <a:pt x="152" y="182"/>
                  <a:pt x="156" y="181"/>
                  <a:pt x="159" y="181"/>
                </a:cubicBezTo>
                <a:cubicBezTo>
                  <a:pt x="159" y="181"/>
                  <a:pt x="160" y="180"/>
                  <a:pt x="160" y="180"/>
                </a:cubicBezTo>
                <a:cubicBezTo>
                  <a:pt x="160" y="162"/>
                  <a:pt x="160" y="162"/>
                  <a:pt x="160" y="162"/>
                </a:cubicBezTo>
                <a:cubicBezTo>
                  <a:pt x="160" y="162"/>
                  <a:pt x="160" y="162"/>
                  <a:pt x="159" y="161"/>
                </a:cubicBezTo>
                <a:cubicBezTo>
                  <a:pt x="159" y="161"/>
                  <a:pt x="159" y="161"/>
                  <a:pt x="159" y="161"/>
                </a:cubicBezTo>
                <a:cubicBezTo>
                  <a:pt x="159" y="161"/>
                  <a:pt x="159" y="161"/>
                  <a:pt x="159" y="161"/>
                </a:cubicBezTo>
                <a:close/>
                <a:moveTo>
                  <a:pt x="52" y="161"/>
                </a:moveTo>
                <a:cubicBezTo>
                  <a:pt x="52" y="161"/>
                  <a:pt x="51" y="161"/>
                  <a:pt x="51" y="161"/>
                </a:cubicBezTo>
                <a:cubicBezTo>
                  <a:pt x="51" y="162"/>
                  <a:pt x="51" y="162"/>
                  <a:pt x="51" y="162"/>
                </a:cubicBezTo>
                <a:cubicBezTo>
                  <a:pt x="51" y="180"/>
                  <a:pt x="51" y="180"/>
                  <a:pt x="51" y="180"/>
                </a:cubicBezTo>
                <a:cubicBezTo>
                  <a:pt x="51" y="180"/>
                  <a:pt x="51" y="181"/>
                  <a:pt x="52" y="181"/>
                </a:cubicBezTo>
                <a:cubicBezTo>
                  <a:pt x="55" y="181"/>
                  <a:pt x="59" y="182"/>
                  <a:pt x="62" y="183"/>
                </a:cubicBezTo>
                <a:cubicBezTo>
                  <a:pt x="63" y="183"/>
                  <a:pt x="63" y="183"/>
                  <a:pt x="63" y="183"/>
                </a:cubicBezTo>
                <a:cubicBezTo>
                  <a:pt x="63" y="183"/>
                  <a:pt x="63" y="182"/>
                  <a:pt x="63" y="182"/>
                </a:cubicBezTo>
                <a:cubicBezTo>
                  <a:pt x="64" y="182"/>
                  <a:pt x="64" y="182"/>
                  <a:pt x="64" y="181"/>
                </a:cubicBezTo>
                <a:cubicBezTo>
                  <a:pt x="64" y="164"/>
                  <a:pt x="64" y="164"/>
                  <a:pt x="64" y="164"/>
                </a:cubicBezTo>
                <a:cubicBezTo>
                  <a:pt x="64" y="163"/>
                  <a:pt x="63" y="163"/>
                  <a:pt x="63" y="163"/>
                </a:cubicBezTo>
                <a:cubicBezTo>
                  <a:pt x="59" y="162"/>
                  <a:pt x="56" y="162"/>
                  <a:pt x="52" y="161"/>
                </a:cubicBezTo>
                <a:cubicBezTo>
                  <a:pt x="52" y="161"/>
                  <a:pt x="52" y="161"/>
                  <a:pt x="52" y="161"/>
                </a:cubicBezTo>
                <a:close/>
                <a:moveTo>
                  <a:pt x="177" y="157"/>
                </a:moveTo>
                <a:cubicBezTo>
                  <a:pt x="176" y="157"/>
                  <a:pt x="176" y="157"/>
                  <a:pt x="176" y="158"/>
                </a:cubicBezTo>
                <a:cubicBezTo>
                  <a:pt x="173" y="158"/>
                  <a:pt x="170" y="159"/>
                  <a:pt x="166" y="160"/>
                </a:cubicBezTo>
                <a:cubicBezTo>
                  <a:pt x="165" y="160"/>
                  <a:pt x="165" y="161"/>
                  <a:pt x="165" y="161"/>
                </a:cubicBezTo>
                <a:cubicBezTo>
                  <a:pt x="165" y="178"/>
                  <a:pt x="165" y="178"/>
                  <a:pt x="165" y="178"/>
                </a:cubicBezTo>
                <a:cubicBezTo>
                  <a:pt x="165" y="179"/>
                  <a:pt x="165" y="179"/>
                  <a:pt x="165" y="179"/>
                </a:cubicBezTo>
                <a:cubicBezTo>
                  <a:pt x="165" y="179"/>
                  <a:pt x="166" y="180"/>
                  <a:pt x="166" y="180"/>
                </a:cubicBezTo>
                <a:cubicBezTo>
                  <a:pt x="166" y="180"/>
                  <a:pt x="166" y="180"/>
                  <a:pt x="166" y="179"/>
                </a:cubicBezTo>
                <a:cubicBezTo>
                  <a:pt x="170" y="179"/>
                  <a:pt x="174" y="178"/>
                  <a:pt x="177" y="177"/>
                </a:cubicBezTo>
                <a:cubicBezTo>
                  <a:pt x="177" y="177"/>
                  <a:pt x="178" y="176"/>
                  <a:pt x="178" y="176"/>
                </a:cubicBezTo>
                <a:cubicBezTo>
                  <a:pt x="178" y="159"/>
                  <a:pt x="178" y="159"/>
                  <a:pt x="178" y="159"/>
                </a:cubicBezTo>
                <a:cubicBezTo>
                  <a:pt x="178" y="158"/>
                  <a:pt x="178" y="158"/>
                  <a:pt x="177" y="158"/>
                </a:cubicBezTo>
                <a:cubicBezTo>
                  <a:pt x="177" y="158"/>
                  <a:pt x="177" y="157"/>
                  <a:pt x="177" y="157"/>
                </a:cubicBezTo>
                <a:close/>
                <a:moveTo>
                  <a:pt x="34" y="157"/>
                </a:moveTo>
                <a:cubicBezTo>
                  <a:pt x="34" y="157"/>
                  <a:pt x="34" y="158"/>
                  <a:pt x="33" y="158"/>
                </a:cubicBezTo>
                <a:cubicBezTo>
                  <a:pt x="33" y="158"/>
                  <a:pt x="33" y="158"/>
                  <a:pt x="33" y="159"/>
                </a:cubicBezTo>
                <a:cubicBezTo>
                  <a:pt x="33" y="176"/>
                  <a:pt x="33" y="176"/>
                  <a:pt x="33" y="176"/>
                </a:cubicBezTo>
                <a:cubicBezTo>
                  <a:pt x="33" y="176"/>
                  <a:pt x="33" y="177"/>
                  <a:pt x="34" y="177"/>
                </a:cubicBezTo>
                <a:cubicBezTo>
                  <a:pt x="37" y="178"/>
                  <a:pt x="41" y="179"/>
                  <a:pt x="45" y="179"/>
                </a:cubicBezTo>
                <a:cubicBezTo>
                  <a:pt x="45" y="180"/>
                  <a:pt x="45" y="180"/>
                  <a:pt x="45" y="180"/>
                </a:cubicBezTo>
                <a:cubicBezTo>
                  <a:pt x="45" y="180"/>
                  <a:pt x="45" y="179"/>
                  <a:pt x="46" y="179"/>
                </a:cubicBezTo>
                <a:cubicBezTo>
                  <a:pt x="46" y="179"/>
                  <a:pt x="46" y="179"/>
                  <a:pt x="46" y="178"/>
                </a:cubicBezTo>
                <a:cubicBezTo>
                  <a:pt x="46" y="161"/>
                  <a:pt x="46" y="161"/>
                  <a:pt x="46" y="161"/>
                </a:cubicBezTo>
                <a:cubicBezTo>
                  <a:pt x="46" y="161"/>
                  <a:pt x="46" y="160"/>
                  <a:pt x="45" y="160"/>
                </a:cubicBezTo>
                <a:cubicBezTo>
                  <a:pt x="41" y="159"/>
                  <a:pt x="38" y="158"/>
                  <a:pt x="34" y="158"/>
                </a:cubicBezTo>
                <a:cubicBezTo>
                  <a:pt x="34" y="157"/>
                  <a:pt x="34" y="157"/>
                  <a:pt x="34" y="157"/>
                </a:cubicBezTo>
                <a:close/>
                <a:moveTo>
                  <a:pt x="16" y="150"/>
                </a:moveTo>
                <a:cubicBezTo>
                  <a:pt x="16" y="150"/>
                  <a:pt x="16" y="150"/>
                  <a:pt x="16" y="151"/>
                </a:cubicBezTo>
                <a:cubicBezTo>
                  <a:pt x="15" y="151"/>
                  <a:pt x="15" y="151"/>
                  <a:pt x="15" y="152"/>
                </a:cubicBezTo>
                <a:cubicBezTo>
                  <a:pt x="15" y="166"/>
                  <a:pt x="15" y="166"/>
                  <a:pt x="15" y="166"/>
                </a:cubicBezTo>
                <a:cubicBezTo>
                  <a:pt x="15" y="169"/>
                  <a:pt x="19" y="172"/>
                  <a:pt x="27" y="174"/>
                </a:cubicBezTo>
                <a:cubicBezTo>
                  <a:pt x="27" y="175"/>
                  <a:pt x="27" y="175"/>
                  <a:pt x="27" y="175"/>
                </a:cubicBezTo>
                <a:cubicBezTo>
                  <a:pt x="27" y="175"/>
                  <a:pt x="27" y="174"/>
                  <a:pt x="28" y="174"/>
                </a:cubicBezTo>
                <a:cubicBezTo>
                  <a:pt x="28" y="174"/>
                  <a:pt x="28" y="174"/>
                  <a:pt x="28" y="173"/>
                </a:cubicBezTo>
                <a:cubicBezTo>
                  <a:pt x="28" y="156"/>
                  <a:pt x="28" y="156"/>
                  <a:pt x="28" y="156"/>
                </a:cubicBezTo>
                <a:cubicBezTo>
                  <a:pt x="28" y="156"/>
                  <a:pt x="28" y="156"/>
                  <a:pt x="27" y="155"/>
                </a:cubicBezTo>
                <a:cubicBezTo>
                  <a:pt x="23" y="154"/>
                  <a:pt x="20" y="152"/>
                  <a:pt x="17" y="151"/>
                </a:cubicBezTo>
                <a:cubicBezTo>
                  <a:pt x="17" y="150"/>
                  <a:pt x="17" y="150"/>
                  <a:pt x="16" y="150"/>
                </a:cubicBezTo>
                <a:close/>
                <a:moveTo>
                  <a:pt x="194" y="150"/>
                </a:moveTo>
                <a:cubicBezTo>
                  <a:pt x="194" y="150"/>
                  <a:pt x="194" y="150"/>
                  <a:pt x="194" y="151"/>
                </a:cubicBezTo>
                <a:cubicBezTo>
                  <a:pt x="191" y="152"/>
                  <a:pt x="188" y="154"/>
                  <a:pt x="183" y="155"/>
                </a:cubicBezTo>
                <a:cubicBezTo>
                  <a:pt x="183" y="156"/>
                  <a:pt x="183" y="156"/>
                  <a:pt x="183" y="156"/>
                </a:cubicBezTo>
                <a:cubicBezTo>
                  <a:pt x="183" y="173"/>
                  <a:pt x="183" y="173"/>
                  <a:pt x="183" y="173"/>
                </a:cubicBezTo>
                <a:cubicBezTo>
                  <a:pt x="183" y="174"/>
                  <a:pt x="183" y="174"/>
                  <a:pt x="183" y="174"/>
                </a:cubicBezTo>
                <a:cubicBezTo>
                  <a:pt x="183" y="174"/>
                  <a:pt x="183" y="175"/>
                  <a:pt x="184" y="175"/>
                </a:cubicBezTo>
                <a:cubicBezTo>
                  <a:pt x="184" y="175"/>
                  <a:pt x="184" y="175"/>
                  <a:pt x="184" y="174"/>
                </a:cubicBezTo>
                <a:cubicBezTo>
                  <a:pt x="192" y="172"/>
                  <a:pt x="195" y="169"/>
                  <a:pt x="195" y="166"/>
                </a:cubicBezTo>
                <a:cubicBezTo>
                  <a:pt x="195" y="152"/>
                  <a:pt x="195" y="152"/>
                  <a:pt x="195" y="152"/>
                </a:cubicBezTo>
                <a:cubicBezTo>
                  <a:pt x="195" y="151"/>
                  <a:pt x="195" y="151"/>
                  <a:pt x="195" y="151"/>
                </a:cubicBezTo>
                <a:cubicBezTo>
                  <a:pt x="195" y="150"/>
                  <a:pt x="195" y="150"/>
                  <a:pt x="194" y="150"/>
                </a:cubicBezTo>
                <a:close/>
                <a:moveTo>
                  <a:pt x="16" y="141"/>
                </a:moveTo>
                <a:cubicBezTo>
                  <a:pt x="16" y="141"/>
                  <a:pt x="16" y="141"/>
                  <a:pt x="16" y="141"/>
                </a:cubicBezTo>
                <a:cubicBezTo>
                  <a:pt x="15" y="141"/>
                  <a:pt x="15" y="142"/>
                  <a:pt x="15" y="142"/>
                </a:cubicBezTo>
                <a:cubicBezTo>
                  <a:pt x="16" y="146"/>
                  <a:pt x="26" y="150"/>
                  <a:pt x="32" y="151"/>
                </a:cubicBezTo>
                <a:cubicBezTo>
                  <a:pt x="40" y="154"/>
                  <a:pt x="59" y="159"/>
                  <a:pt x="89" y="160"/>
                </a:cubicBezTo>
                <a:cubicBezTo>
                  <a:pt x="94" y="160"/>
                  <a:pt x="94" y="160"/>
                  <a:pt x="94" y="160"/>
                </a:cubicBezTo>
                <a:cubicBezTo>
                  <a:pt x="96" y="160"/>
                  <a:pt x="96" y="160"/>
                  <a:pt x="96" y="160"/>
                </a:cubicBezTo>
                <a:cubicBezTo>
                  <a:pt x="99" y="160"/>
                  <a:pt x="102" y="160"/>
                  <a:pt x="105" y="160"/>
                </a:cubicBezTo>
                <a:cubicBezTo>
                  <a:pt x="108" y="160"/>
                  <a:pt x="111" y="160"/>
                  <a:pt x="113" y="160"/>
                </a:cubicBezTo>
                <a:cubicBezTo>
                  <a:pt x="118" y="160"/>
                  <a:pt x="118" y="160"/>
                  <a:pt x="118" y="160"/>
                </a:cubicBezTo>
                <a:cubicBezTo>
                  <a:pt x="119" y="160"/>
                  <a:pt x="120" y="160"/>
                  <a:pt x="122" y="160"/>
                </a:cubicBezTo>
                <a:cubicBezTo>
                  <a:pt x="152" y="159"/>
                  <a:pt x="171" y="154"/>
                  <a:pt x="179" y="151"/>
                </a:cubicBezTo>
                <a:cubicBezTo>
                  <a:pt x="185" y="149"/>
                  <a:pt x="195" y="146"/>
                  <a:pt x="195" y="142"/>
                </a:cubicBezTo>
                <a:cubicBezTo>
                  <a:pt x="195" y="142"/>
                  <a:pt x="195" y="141"/>
                  <a:pt x="195" y="141"/>
                </a:cubicBezTo>
                <a:cubicBezTo>
                  <a:pt x="195" y="140"/>
                  <a:pt x="194" y="138"/>
                  <a:pt x="185" y="135"/>
                </a:cubicBezTo>
                <a:cubicBezTo>
                  <a:pt x="185" y="135"/>
                  <a:pt x="185" y="135"/>
                  <a:pt x="185" y="135"/>
                </a:cubicBezTo>
                <a:cubicBezTo>
                  <a:pt x="185" y="135"/>
                  <a:pt x="185" y="135"/>
                  <a:pt x="184" y="135"/>
                </a:cubicBezTo>
                <a:cubicBezTo>
                  <a:pt x="184" y="135"/>
                  <a:pt x="183" y="136"/>
                  <a:pt x="183" y="136"/>
                </a:cubicBezTo>
                <a:cubicBezTo>
                  <a:pt x="183" y="136"/>
                  <a:pt x="183" y="136"/>
                  <a:pt x="182" y="136"/>
                </a:cubicBezTo>
                <a:cubicBezTo>
                  <a:pt x="181" y="137"/>
                  <a:pt x="181" y="137"/>
                  <a:pt x="181" y="137"/>
                </a:cubicBezTo>
                <a:cubicBezTo>
                  <a:pt x="176" y="140"/>
                  <a:pt x="167" y="143"/>
                  <a:pt x="156" y="145"/>
                </a:cubicBezTo>
                <a:cubicBezTo>
                  <a:pt x="155" y="145"/>
                  <a:pt x="155" y="145"/>
                  <a:pt x="155" y="145"/>
                </a:cubicBezTo>
                <a:cubicBezTo>
                  <a:pt x="154" y="146"/>
                  <a:pt x="152" y="146"/>
                  <a:pt x="152" y="146"/>
                </a:cubicBezTo>
                <a:cubicBezTo>
                  <a:pt x="146" y="147"/>
                  <a:pt x="140" y="148"/>
                  <a:pt x="134" y="149"/>
                </a:cubicBezTo>
                <a:cubicBezTo>
                  <a:pt x="128" y="149"/>
                  <a:pt x="122" y="150"/>
                  <a:pt x="116" y="150"/>
                </a:cubicBezTo>
                <a:cubicBezTo>
                  <a:pt x="111" y="151"/>
                  <a:pt x="106" y="151"/>
                  <a:pt x="101" y="151"/>
                </a:cubicBezTo>
                <a:cubicBezTo>
                  <a:pt x="99" y="151"/>
                  <a:pt x="97" y="151"/>
                  <a:pt x="95" y="151"/>
                </a:cubicBezTo>
                <a:cubicBezTo>
                  <a:pt x="93" y="151"/>
                  <a:pt x="92" y="151"/>
                  <a:pt x="90" y="151"/>
                </a:cubicBezTo>
                <a:cubicBezTo>
                  <a:pt x="85" y="151"/>
                  <a:pt x="79" y="151"/>
                  <a:pt x="73" y="150"/>
                </a:cubicBezTo>
                <a:cubicBezTo>
                  <a:pt x="56" y="149"/>
                  <a:pt x="39" y="147"/>
                  <a:pt x="26" y="144"/>
                </a:cubicBezTo>
                <a:cubicBezTo>
                  <a:pt x="26" y="144"/>
                  <a:pt x="24" y="143"/>
                  <a:pt x="24" y="143"/>
                </a:cubicBezTo>
                <a:cubicBezTo>
                  <a:pt x="22" y="143"/>
                  <a:pt x="21" y="142"/>
                  <a:pt x="20" y="142"/>
                </a:cubicBezTo>
                <a:cubicBezTo>
                  <a:pt x="19" y="142"/>
                  <a:pt x="18" y="141"/>
                  <a:pt x="17" y="141"/>
                </a:cubicBezTo>
                <a:cubicBezTo>
                  <a:pt x="17" y="141"/>
                  <a:pt x="17" y="141"/>
                  <a:pt x="16" y="141"/>
                </a:cubicBezTo>
                <a:close/>
                <a:moveTo>
                  <a:pt x="112" y="126"/>
                </a:moveTo>
                <a:cubicBezTo>
                  <a:pt x="109" y="126"/>
                  <a:pt x="105" y="126"/>
                  <a:pt x="102" y="126"/>
                </a:cubicBezTo>
                <a:cubicBezTo>
                  <a:pt x="98" y="126"/>
                  <a:pt x="98" y="126"/>
                  <a:pt x="98" y="126"/>
                </a:cubicBezTo>
                <a:cubicBezTo>
                  <a:pt x="98" y="126"/>
                  <a:pt x="97" y="126"/>
                  <a:pt x="97" y="127"/>
                </a:cubicBezTo>
                <a:cubicBezTo>
                  <a:pt x="97" y="145"/>
                  <a:pt x="97" y="145"/>
                  <a:pt x="97" y="145"/>
                </a:cubicBezTo>
                <a:cubicBezTo>
                  <a:pt x="97" y="145"/>
                  <a:pt x="97" y="145"/>
                  <a:pt x="97" y="146"/>
                </a:cubicBezTo>
                <a:cubicBezTo>
                  <a:pt x="98" y="146"/>
                  <a:pt x="98" y="146"/>
                  <a:pt x="98" y="146"/>
                </a:cubicBezTo>
                <a:cubicBezTo>
                  <a:pt x="98" y="146"/>
                  <a:pt x="100" y="146"/>
                  <a:pt x="100" y="146"/>
                </a:cubicBezTo>
                <a:cubicBezTo>
                  <a:pt x="100" y="146"/>
                  <a:pt x="101" y="146"/>
                  <a:pt x="102" y="146"/>
                </a:cubicBezTo>
                <a:cubicBezTo>
                  <a:pt x="104" y="146"/>
                  <a:pt x="104" y="146"/>
                  <a:pt x="104" y="146"/>
                </a:cubicBezTo>
                <a:cubicBezTo>
                  <a:pt x="106" y="146"/>
                  <a:pt x="108" y="146"/>
                  <a:pt x="110" y="146"/>
                </a:cubicBezTo>
                <a:cubicBezTo>
                  <a:pt x="113" y="146"/>
                  <a:pt x="113" y="146"/>
                  <a:pt x="113" y="146"/>
                </a:cubicBezTo>
                <a:cubicBezTo>
                  <a:pt x="113" y="146"/>
                  <a:pt x="114" y="145"/>
                  <a:pt x="114" y="144"/>
                </a:cubicBezTo>
                <a:cubicBezTo>
                  <a:pt x="114" y="127"/>
                  <a:pt x="114" y="127"/>
                  <a:pt x="114" y="127"/>
                </a:cubicBezTo>
                <a:cubicBezTo>
                  <a:pt x="114" y="126"/>
                  <a:pt x="113" y="126"/>
                  <a:pt x="113" y="126"/>
                </a:cubicBezTo>
                <a:cubicBezTo>
                  <a:pt x="113" y="126"/>
                  <a:pt x="113" y="126"/>
                  <a:pt x="112" y="126"/>
                </a:cubicBezTo>
                <a:cubicBezTo>
                  <a:pt x="112" y="126"/>
                  <a:pt x="112" y="126"/>
                  <a:pt x="112" y="126"/>
                </a:cubicBezTo>
                <a:close/>
                <a:moveTo>
                  <a:pt x="77" y="126"/>
                </a:moveTo>
                <a:cubicBezTo>
                  <a:pt x="77" y="126"/>
                  <a:pt x="76" y="126"/>
                  <a:pt x="76" y="126"/>
                </a:cubicBezTo>
                <a:cubicBezTo>
                  <a:pt x="76" y="126"/>
                  <a:pt x="76" y="126"/>
                  <a:pt x="76" y="127"/>
                </a:cubicBezTo>
                <a:cubicBezTo>
                  <a:pt x="76" y="144"/>
                  <a:pt x="76" y="144"/>
                  <a:pt x="76" y="144"/>
                </a:cubicBezTo>
                <a:cubicBezTo>
                  <a:pt x="76" y="145"/>
                  <a:pt x="76" y="146"/>
                  <a:pt x="77" y="146"/>
                </a:cubicBezTo>
                <a:cubicBezTo>
                  <a:pt x="79" y="146"/>
                  <a:pt x="81" y="146"/>
                  <a:pt x="83" y="146"/>
                </a:cubicBezTo>
                <a:cubicBezTo>
                  <a:pt x="89" y="146"/>
                  <a:pt x="89" y="146"/>
                  <a:pt x="89" y="146"/>
                </a:cubicBezTo>
                <a:cubicBezTo>
                  <a:pt x="90" y="146"/>
                  <a:pt x="90" y="146"/>
                  <a:pt x="91" y="146"/>
                </a:cubicBezTo>
                <a:cubicBezTo>
                  <a:pt x="92" y="146"/>
                  <a:pt x="92" y="145"/>
                  <a:pt x="92" y="145"/>
                </a:cubicBezTo>
                <a:cubicBezTo>
                  <a:pt x="92" y="127"/>
                  <a:pt x="92" y="127"/>
                  <a:pt x="92" y="127"/>
                </a:cubicBezTo>
                <a:cubicBezTo>
                  <a:pt x="92" y="126"/>
                  <a:pt x="92" y="126"/>
                  <a:pt x="91" y="126"/>
                </a:cubicBezTo>
                <a:cubicBezTo>
                  <a:pt x="88" y="126"/>
                  <a:pt x="88" y="126"/>
                  <a:pt x="88" y="126"/>
                </a:cubicBezTo>
                <a:cubicBezTo>
                  <a:pt x="84" y="126"/>
                  <a:pt x="80" y="126"/>
                  <a:pt x="77" y="126"/>
                </a:cubicBezTo>
                <a:cubicBezTo>
                  <a:pt x="77" y="126"/>
                  <a:pt x="77" y="126"/>
                  <a:pt x="77" y="126"/>
                </a:cubicBezTo>
                <a:close/>
                <a:moveTo>
                  <a:pt x="59" y="124"/>
                </a:moveTo>
                <a:cubicBezTo>
                  <a:pt x="59" y="124"/>
                  <a:pt x="59" y="124"/>
                  <a:pt x="58" y="125"/>
                </a:cubicBezTo>
                <a:cubicBezTo>
                  <a:pt x="58" y="125"/>
                  <a:pt x="58" y="125"/>
                  <a:pt x="58" y="125"/>
                </a:cubicBezTo>
                <a:cubicBezTo>
                  <a:pt x="58" y="143"/>
                  <a:pt x="58" y="143"/>
                  <a:pt x="58" y="143"/>
                </a:cubicBezTo>
                <a:cubicBezTo>
                  <a:pt x="58" y="144"/>
                  <a:pt x="58" y="144"/>
                  <a:pt x="59" y="144"/>
                </a:cubicBezTo>
                <a:cubicBezTo>
                  <a:pt x="61" y="144"/>
                  <a:pt x="61" y="144"/>
                  <a:pt x="61" y="144"/>
                </a:cubicBezTo>
                <a:cubicBezTo>
                  <a:pt x="64" y="145"/>
                  <a:pt x="67" y="145"/>
                  <a:pt x="70" y="145"/>
                </a:cubicBezTo>
                <a:cubicBezTo>
                  <a:pt x="70" y="145"/>
                  <a:pt x="70" y="145"/>
                  <a:pt x="70" y="145"/>
                </a:cubicBezTo>
                <a:cubicBezTo>
                  <a:pt x="70" y="145"/>
                  <a:pt x="70" y="145"/>
                  <a:pt x="71" y="145"/>
                </a:cubicBezTo>
                <a:cubicBezTo>
                  <a:pt x="71" y="145"/>
                  <a:pt x="71" y="144"/>
                  <a:pt x="71" y="144"/>
                </a:cubicBezTo>
                <a:cubicBezTo>
                  <a:pt x="71" y="126"/>
                  <a:pt x="71" y="126"/>
                  <a:pt x="71" y="126"/>
                </a:cubicBezTo>
                <a:cubicBezTo>
                  <a:pt x="71" y="126"/>
                  <a:pt x="70" y="125"/>
                  <a:pt x="70" y="125"/>
                </a:cubicBezTo>
                <a:cubicBezTo>
                  <a:pt x="66" y="125"/>
                  <a:pt x="63" y="125"/>
                  <a:pt x="59" y="124"/>
                </a:cubicBezTo>
                <a:cubicBezTo>
                  <a:pt x="59" y="124"/>
                  <a:pt x="59" y="124"/>
                  <a:pt x="59" y="124"/>
                </a:cubicBezTo>
                <a:close/>
                <a:moveTo>
                  <a:pt x="130" y="124"/>
                </a:moveTo>
                <a:cubicBezTo>
                  <a:pt x="127" y="125"/>
                  <a:pt x="123" y="125"/>
                  <a:pt x="120" y="125"/>
                </a:cubicBezTo>
                <a:cubicBezTo>
                  <a:pt x="119" y="125"/>
                  <a:pt x="118" y="126"/>
                  <a:pt x="118" y="126"/>
                </a:cubicBezTo>
                <a:cubicBezTo>
                  <a:pt x="118" y="144"/>
                  <a:pt x="118" y="144"/>
                  <a:pt x="118" y="144"/>
                </a:cubicBezTo>
                <a:cubicBezTo>
                  <a:pt x="118" y="144"/>
                  <a:pt x="119" y="145"/>
                  <a:pt x="119" y="145"/>
                </a:cubicBezTo>
                <a:cubicBezTo>
                  <a:pt x="119" y="145"/>
                  <a:pt x="119" y="145"/>
                  <a:pt x="120" y="145"/>
                </a:cubicBezTo>
                <a:cubicBezTo>
                  <a:pt x="120" y="145"/>
                  <a:pt x="124" y="145"/>
                  <a:pt x="124" y="145"/>
                </a:cubicBezTo>
                <a:cubicBezTo>
                  <a:pt x="125" y="145"/>
                  <a:pt x="127" y="145"/>
                  <a:pt x="129" y="144"/>
                </a:cubicBezTo>
                <a:cubicBezTo>
                  <a:pt x="130" y="144"/>
                  <a:pt x="130" y="144"/>
                  <a:pt x="130" y="144"/>
                </a:cubicBezTo>
                <a:cubicBezTo>
                  <a:pt x="131" y="144"/>
                  <a:pt x="131" y="144"/>
                  <a:pt x="131" y="143"/>
                </a:cubicBezTo>
                <a:cubicBezTo>
                  <a:pt x="131" y="125"/>
                  <a:pt x="131" y="125"/>
                  <a:pt x="131" y="125"/>
                </a:cubicBezTo>
                <a:cubicBezTo>
                  <a:pt x="131" y="125"/>
                  <a:pt x="131" y="125"/>
                  <a:pt x="131" y="125"/>
                </a:cubicBezTo>
                <a:cubicBezTo>
                  <a:pt x="131" y="124"/>
                  <a:pt x="131" y="124"/>
                  <a:pt x="130" y="124"/>
                </a:cubicBezTo>
                <a:cubicBezTo>
                  <a:pt x="130" y="124"/>
                  <a:pt x="130" y="124"/>
                  <a:pt x="130" y="124"/>
                </a:cubicBezTo>
                <a:close/>
                <a:moveTo>
                  <a:pt x="41" y="122"/>
                </a:moveTo>
                <a:cubicBezTo>
                  <a:pt x="41" y="122"/>
                  <a:pt x="41" y="122"/>
                  <a:pt x="41" y="122"/>
                </a:cubicBezTo>
                <a:cubicBezTo>
                  <a:pt x="40" y="122"/>
                  <a:pt x="40" y="123"/>
                  <a:pt x="40" y="123"/>
                </a:cubicBezTo>
                <a:cubicBezTo>
                  <a:pt x="40" y="141"/>
                  <a:pt x="40" y="141"/>
                  <a:pt x="40" y="141"/>
                </a:cubicBezTo>
                <a:cubicBezTo>
                  <a:pt x="40" y="141"/>
                  <a:pt x="41" y="142"/>
                  <a:pt x="41" y="142"/>
                </a:cubicBezTo>
                <a:cubicBezTo>
                  <a:pt x="44" y="142"/>
                  <a:pt x="48" y="143"/>
                  <a:pt x="52" y="143"/>
                </a:cubicBezTo>
                <a:cubicBezTo>
                  <a:pt x="52" y="143"/>
                  <a:pt x="52" y="143"/>
                  <a:pt x="52" y="143"/>
                </a:cubicBezTo>
                <a:cubicBezTo>
                  <a:pt x="52" y="143"/>
                  <a:pt x="52" y="143"/>
                  <a:pt x="53" y="143"/>
                </a:cubicBezTo>
                <a:cubicBezTo>
                  <a:pt x="53" y="143"/>
                  <a:pt x="53" y="143"/>
                  <a:pt x="53" y="142"/>
                </a:cubicBezTo>
                <a:cubicBezTo>
                  <a:pt x="53" y="125"/>
                  <a:pt x="53" y="125"/>
                  <a:pt x="53" y="125"/>
                </a:cubicBezTo>
                <a:cubicBezTo>
                  <a:pt x="53" y="124"/>
                  <a:pt x="53" y="124"/>
                  <a:pt x="52" y="124"/>
                </a:cubicBezTo>
                <a:cubicBezTo>
                  <a:pt x="48" y="123"/>
                  <a:pt x="45" y="123"/>
                  <a:pt x="41" y="122"/>
                </a:cubicBezTo>
                <a:cubicBezTo>
                  <a:pt x="41" y="122"/>
                  <a:pt x="41" y="122"/>
                  <a:pt x="41" y="122"/>
                </a:cubicBezTo>
                <a:close/>
                <a:moveTo>
                  <a:pt x="148" y="122"/>
                </a:moveTo>
                <a:cubicBezTo>
                  <a:pt x="144" y="123"/>
                  <a:pt x="141" y="123"/>
                  <a:pt x="137" y="124"/>
                </a:cubicBezTo>
                <a:cubicBezTo>
                  <a:pt x="137" y="124"/>
                  <a:pt x="136" y="124"/>
                  <a:pt x="136" y="125"/>
                </a:cubicBezTo>
                <a:cubicBezTo>
                  <a:pt x="136" y="142"/>
                  <a:pt x="136" y="142"/>
                  <a:pt x="136" y="142"/>
                </a:cubicBezTo>
                <a:cubicBezTo>
                  <a:pt x="136" y="143"/>
                  <a:pt x="136" y="143"/>
                  <a:pt x="137" y="143"/>
                </a:cubicBezTo>
                <a:cubicBezTo>
                  <a:pt x="137" y="143"/>
                  <a:pt x="137" y="143"/>
                  <a:pt x="137" y="143"/>
                </a:cubicBezTo>
                <a:cubicBezTo>
                  <a:pt x="137" y="143"/>
                  <a:pt x="137" y="143"/>
                  <a:pt x="138" y="143"/>
                </a:cubicBezTo>
                <a:cubicBezTo>
                  <a:pt x="141" y="143"/>
                  <a:pt x="145" y="142"/>
                  <a:pt x="148" y="142"/>
                </a:cubicBezTo>
                <a:cubicBezTo>
                  <a:pt x="149" y="142"/>
                  <a:pt x="149" y="141"/>
                  <a:pt x="149" y="141"/>
                </a:cubicBezTo>
                <a:cubicBezTo>
                  <a:pt x="149" y="123"/>
                  <a:pt x="149" y="123"/>
                  <a:pt x="149" y="123"/>
                </a:cubicBezTo>
                <a:cubicBezTo>
                  <a:pt x="149" y="123"/>
                  <a:pt x="149" y="122"/>
                  <a:pt x="149" y="122"/>
                </a:cubicBezTo>
                <a:cubicBezTo>
                  <a:pt x="149" y="122"/>
                  <a:pt x="148" y="122"/>
                  <a:pt x="148" y="122"/>
                </a:cubicBezTo>
                <a:cubicBezTo>
                  <a:pt x="148" y="122"/>
                  <a:pt x="148" y="122"/>
                  <a:pt x="148" y="122"/>
                </a:cubicBezTo>
                <a:close/>
                <a:moveTo>
                  <a:pt x="166" y="118"/>
                </a:moveTo>
                <a:cubicBezTo>
                  <a:pt x="162" y="119"/>
                  <a:pt x="158" y="120"/>
                  <a:pt x="155" y="121"/>
                </a:cubicBezTo>
                <a:cubicBezTo>
                  <a:pt x="154" y="121"/>
                  <a:pt x="154" y="121"/>
                  <a:pt x="154" y="122"/>
                </a:cubicBezTo>
                <a:cubicBezTo>
                  <a:pt x="154" y="139"/>
                  <a:pt x="154" y="139"/>
                  <a:pt x="154" y="139"/>
                </a:cubicBezTo>
                <a:cubicBezTo>
                  <a:pt x="154" y="140"/>
                  <a:pt x="154" y="140"/>
                  <a:pt x="155" y="140"/>
                </a:cubicBezTo>
                <a:cubicBezTo>
                  <a:pt x="155" y="140"/>
                  <a:pt x="155" y="140"/>
                  <a:pt x="155" y="140"/>
                </a:cubicBezTo>
                <a:cubicBezTo>
                  <a:pt x="155" y="140"/>
                  <a:pt x="155" y="140"/>
                  <a:pt x="155" y="140"/>
                </a:cubicBezTo>
                <a:cubicBezTo>
                  <a:pt x="159" y="139"/>
                  <a:pt x="163" y="139"/>
                  <a:pt x="166" y="138"/>
                </a:cubicBezTo>
                <a:cubicBezTo>
                  <a:pt x="167" y="138"/>
                  <a:pt x="167" y="137"/>
                  <a:pt x="167" y="137"/>
                </a:cubicBezTo>
                <a:cubicBezTo>
                  <a:pt x="167" y="119"/>
                  <a:pt x="167" y="119"/>
                  <a:pt x="167" y="119"/>
                </a:cubicBezTo>
                <a:cubicBezTo>
                  <a:pt x="167" y="119"/>
                  <a:pt x="167" y="119"/>
                  <a:pt x="167" y="119"/>
                </a:cubicBezTo>
                <a:cubicBezTo>
                  <a:pt x="166" y="118"/>
                  <a:pt x="166" y="118"/>
                  <a:pt x="166" y="118"/>
                </a:cubicBezTo>
                <a:cubicBezTo>
                  <a:pt x="166" y="118"/>
                  <a:pt x="166" y="118"/>
                  <a:pt x="166" y="118"/>
                </a:cubicBezTo>
                <a:close/>
                <a:moveTo>
                  <a:pt x="23" y="118"/>
                </a:moveTo>
                <a:cubicBezTo>
                  <a:pt x="23" y="118"/>
                  <a:pt x="23" y="118"/>
                  <a:pt x="23" y="119"/>
                </a:cubicBezTo>
                <a:cubicBezTo>
                  <a:pt x="23" y="119"/>
                  <a:pt x="22" y="119"/>
                  <a:pt x="22" y="119"/>
                </a:cubicBezTo>
                <a:cubicBezTo>
                  <a:pt x="22" y="137"/>
                  <a:pt x="22" y="137"/>
                  <a:pt x="22" y="137"/>
                </a:cubicBezTo>
                <a:cubicBezTo>
                  <a:pt x="22" y="137"/>
                  <a:pt x="23" y="137"/>
                  <a:pt x="23" y="138"/>
                </a:cubicBezTo>
                <a:cubicBezTo>
                  <a:pt x="23" y="138"/>
                  <a:pt x="23" y="138"/>
                  <a:pt x="24" y="138"/>
                </a:cubicBezTo>
                <a:cubicBezTo>
                  <a:pt x="25" y="138"/>
                  <a:pt x="25" y="138"/>
                  <a:pt x="25" y="138"/>
                </a:cubicBezTo>
                <a:cubicBezTo>
                  <a:pt x="28" y="139"/>
                  <a:pt x="31" y="140"/>
                  <a:pt x="34" y="140"/>
                </a:cubicBezTo>
                <a:cubicBezTo>
                  <a:pt x="34" y="140"/>
                  <a:pt x="34" y="140"/>
                  <a:pt x="34" y="140"/>
                </a:cubicBezTo>
                <a:cubicBezTo>
                  <a:pt x="34" y="140"/>
                  <a:pt x="35" y="140"/>
                  <a:pt x="35" y="140"/>
                </a:cubicBezTo>
                <a:cubicBezTo>
                  <a:pt x="35" y="140"/>
                  <a:pt x="35" y="140"/>
                  <a:pt x="35" y="139"/>
                </a:cubicBezTo>
                <a:cubicBezTo>
                  <a:pt x="35" y="122"/>
                  <a:pt x="35" y="122"/>
                  <a:pt x="35" y="122"/>
                </a:cubicBezTo>
                <a:cubicBezTo>
                  <a:pt x="35" y="121"/>
                  <a:pt x="35" y="121"/>
                  <a:pt x="34" y="121"/>
                </a:cubicBezTo>
                <a:cubicBezTo>
                  <a:pt x="31" y="120"/>
                  <a:pt x="27" y="119"/>
                  <a:pt x="24" y="118"/>
                </a:cubicBezTo>
                <a:cubicBezTo>
                  <a:pt x="24" y="118"/>
                  <a:pt x="24" y="118"/>
                  <a:pt x="23" y="118"/>
                </a:cubicBezTo>
                <a:close/>
                <a:moveTo>
                  <a:pt x="16" y="135"/>
                </a:moveTo>
                <a:cubicBezTo>
                  <a:pt x="16" y="135"/>
                  <a:pt x="16" y="135"/>
                  <a:pt x="16" y="135"/>
                </a:cubicBezTo>
                <a:cubicBezTo>
                  <a:pt x="17" y="135"/>
                  <a:pt x="17" y="135"/>
                  <a:pt x="17" y="135"/>
                </a:cubicBezTo>
                <a:cubicBezTo>
                  <a:pt x="17" y="135"/>
                  <a:pt x="17" y="135"/>
                  <a:pt x="17" y="134"/>
                </a:cubicBezTo>
                <a:cubicBezTo>
                  <a:pt x="17" y="117"/>
                  <a:pt x="17" y="117"/>
                  <a:pt x="17" y="117"/>
                </a:cubicBezTo>
                <a:cubicBezTo>
                  <a:pt x="17" y="117"/>
                  <a:pt x="17" y="116"/>
                  <a:pt x="17" y="116"/>
                </a:cubicBezTo>
                <a:cubicBezTo>
                  <a:pt x="12" y="115"/>
                  <a:pt x="9" y="113"/>
                  <a:pt x="6" y="111"/>
                </a:cubicBezTo>
                <a:cubicBezTo>
                  <a:pt x="6" y="111"/>
                  <a:pt x="6" y="111"/>
                  <a:pt x="6" y="111"/>
                </a:cubicBezTo>
                <a:cubicBezTo>
                  <a:pt x="5" y="111"/>
                  <a:pt x="5" y="111"/>
                  <a:pt x="5" y="111"/>
                </a:cubicBezTo>
                <a:cubicBezTo>
                  <a:pt x="5" y="112"/>
                  <a:pt x="5" y="112"/>
                  <a:pt x="5" y="112"/>
                </a:cubicBezTo>
                <a:cubicBezTo>
                  <a:pt x="5" y="127"/>
                  <a:pt x="5" y="127"/>
                  <a:pt x="5" y="127"/>
                </a:cubicBezTo>
                <a:cubicBezTo>
                  <a:pt x="5" y="129"/>
                  <a:pt x="8" y="132"/>
                  <a:pt x="14" y="134"/>
                </a:cubicBezTo>
                <a:cubicBezTo>
                  <a:pt x="14" y="135"/>
                  <a:pt x="14" y="135"/>
                  <a:pt x="14" y="135"/>
                </a:cubicBezTo>
                <a:lnTo>
                  <a:pt x="16" y="135"/>
                </a:lnTo>
                <a:close/>
                <a:moveTo>
                  <a:pt x="184" y="111"/>
                </a:moveTo>
                <a:cubicBezTo>
                  <a:pt x="183" y="111"/>
                  <a:pt x="183" y="111"/>
                  <a:pt x="183" y="111"/>
                </a:cubicBezTo>
                <a:cubicBezTo>
                  <a:pt x="180" y="113"/>
                  <a:pt x="177" y="115"/>
                  <a:pt x="173" y="116"/>
                </a:cubicBezTo>
                <a:cubicBezTo>
                  <a:pt x="172" y="116"/>
                  <a:pt x="172" y="117"/>
                  <a:pt x="172" y="117"/>
                </a:cubicBezTo>
                <a:cubicBezTo>
                  <a:pt x="172" y="134"/>
                  <a:pt x="172" y="134"/>
                  <a:pt x="172" y="134"/>
                </a:cubicBezTo>
                <a:cubicBezTo>
                  <a:pt x="172" y="135"/>
                  <a:pt x="172" y="135"/>
                  <a:pt x="172" y="135"/>
                </a:cubicBezTo>
                <a:cubicBezTo>
                  <a:pt x="173" y="135"/>
                  <a:pt x="173" y="135"/>
                  <a:pt x="173" y="135"/>
                </a:cubicBezTo>
                <a:cubicBezTo>
                  <a:pt x="173" y="135"/>
                  <a:pt x="173" y="135"/>
                  <a:pt x="173" y="135"/>
                </a:cubicBezTo>
                <a:cubicBezTo>
                  <a:pt x="178" y="134"/>
                  <a:pt x="181" y="132"/>
                  <a:pt x="183" y="130"/>
                </a:cubicBezTo>
                <a:cubicBezTo>
                  <a:pt x="184" y="129"/>
                  <a:pt x="184" y="129"/>
                  <a:pt x="184" y="129"/>
                </a:cubicBezTo>
                <a:cubicBezTo>
                  <a:pt x="185" y="128"/>
                  <a:pt x="185" y="128"/>
                  <a:pt x="185" y="127"/>
                </a:cubicBezTo>
                <a:cubicBezTo>
                  <a:pt x="185" y="112"/>
                  <a:pt x="185" y="112"/>
                  <a:pt x="185" y="112"/>
                </a:cubicBezTo>
                <a:cubicBezTo>
                  <a:pt x="185" y="112"/>
                  <a:pt x="185" y="112"/>
                  <a:pt x="184" y="111"/>
                </a:cubicBezTo>
                <a:cubicBezTo>
                  <a:pt x="184" y="111"/>
                  <a:pt x="184" y="111"/>
                  <a:pt x="184" y="111"/>
                </a:cubicBezTo>
                <a:close/>
                <a:moveTo>
                  <a:pt x="23" y="93"/>
                </a:moveTo>
                <a:cubicBezTo>
                  <a:pt x="7" y="97"/>
                  <a:pt x="5" y="101"/>
                  <a:pt x="5" y="102"/>
                </a:cubicBezTo>
                <a:cubicBezTo>
                  <a:pt x="5" y="102"/>
                  <a:pt x="5" y="102"/>
                  <a:pt x="5" y="103"/>
                </a:cubicBezTo>
                <a:cubicBezTo>
                  <a:pt x="5" y="106"/>
                  <a:pt x="14" y="110"/>
                  <a:pt x="21" y="112"/>
                </a:cubicBezTo>
                <a:cubicBezTo>
                  <a:pt x="30" y="115"/>
                  <a:pt x="48" y="119"/>
                  <a:pt x="79" y="121"/>
                </a:cubicBezTo>
                <a:cubicBezTo>
                  <a:pt x="79" y="121"/>
                  <a:pt x="79" y="121"/>
                  <a:pt x="79" y="121"/>
                </a:cubicBezTo>
                <a:cubicBezTo>
                  <a:pt x="80" y="121"/>
                  <a:pt x="81" y="121"/>
                  <a:pt x="82" y="121"/>
                </a:cubicBezTo>
                <a:cubicBezTo>
                  <a:pt x="86" y="121"/>
                  <a:pt x="86" y="121"/>
                  <a:pt x="86" y="121"/>
                </a:cubicBezTo>
                <a:cubicBezTo>
                  <a:pt x="89" y="121"/>
                  <a:pt x="92" y="121"/>
                  <a:pt x="95" y="121"/>
                </a:cubicBezTo>
                <a:cubicBezTo>
                  <a:pt x="97" y="121"/>
                  <a:pt x="99" y="121"/>
                  <a:pt x="101" y="121"/>
                </a:cubicBezTo>
                <a:cubicBezTo>
                  <a:pt x="107" y="121"/>
                  <a:pt x="107" y="121"/>
                  <a:pt x="107" y="121"/>
                </a:cubicBezTo>
                <a:cubicBezTo>
                  <a:pt x="130" y="120"/>
                  <a:pt x="153" y="117"/>
                  <a:pt x="168" y="112"/>
                </a:cubicBezTo>
                <a:cubicBezTo>
                  <a:pt x="173" y="111"/>
                  <a:pt x="176" y="109"/>
                  <a:pt x="179" y="108"/>
                </a:cubicBezTo>
                <a:cubicBezTo>
                  <a:pt x="180" y="108"/>
                  <a:pt x="180" y="107"/>
                  <a:pt x="180" y="107"/>
                </a:cubicBezTo>
                <a:cubicBezTo>
                  <a:pt x="179" y="106"/>
                  <a:pt x="179" y="106"/>
                  <a:pt x="179" y="106"/>
                </a:cubicBezTo>
                <a:cubicBezTo>
                  <a:pt x="179" y="106"/>
                  <a:pt x="178" y="106"/>
                  <a:pt x="178" y="106"/>
                </a:cubicBezTo>
                <a:cubicBezTo>
                  <a:pt x="167" y="108"/>
                  <a:pt x="153" y="110"/>
                  <a:pt x="137" y="111"/>
                </a:cubicBezTo>
                <a:cubicBezTo>
                  <a:pt x="133" y="111"/>
                  <a:pt x="128" y="112"/>
                  <a:pt x="124" y="112"/>
                </a:cubicBezTo>
                <a:cubicBezTo>
                  <a:pt x="121" y="112"/>
                  <a:pt x="118" y="112"/>
                  <a:pt x="116" y="112"/>
                </a:cubicBezTo>
                <a:cubicBezTo>
                  <a:pt x="114" y="112"/>
                  <a:pt x="112" y="112"/>
                  <a:pt x="110" y="112"/>
                </a:cubicBezTo>
                <a:cubicBezTo>
                  <a:pt x="105" y="112"/>
                  <a:pt x="100" y="111"/>
                  <a:pt x="95" y="111"/>
                </a:cubicBezTo>
                <a:cubicBezTo>
                  <a:pt x="80" y="110"/>
                  <a:pt x="66" y="108"/>
                  <a:pt x="55" y="106"/>
                </a:cubicBezTo>
                <a:cubicBezTo>
                  <a:pt x="54" y="106"/>
                  <a:pt x="53" y="106"/>
                  <a:pt x="52" y="105"/>
                </a:cubicBezTo>
                <a:cubicBezTo>
                  <a:pt x="51" y="105"/>
                  <a:pt x="51" y="105"/>
                  <a:pt x="51" y="105"/>
                </a:cubicBezTo>
                <a:cubicBezTo>
                  <a:pt x="38" y="102"/>
                  <a:pt x="28" y="98"/>
                  <a:pt x="24" y="94"/>
                </a:cubicBezTo>
                <a:cubicBezTo>
                  <a:pt x="24" y="94"/>
                  <a:pt x="23" y="93"/>
                  <a:pt x="23" y="93"/>
                </a:cubicBezTo>
                <a:cubicBezTo>
                  <a:pt x="23" y="93"/>
                  <a:pt x="23" y="93"/>
                  <a:pt x="23" y="93"/>
                </a:cubicBezTo>
                <a:close/>
                <a:moveTo>
                  <a:pt x="98" y="86"/>
                </a:moveTo>
                <a:cubicBezTo>
                  <a:pt x="98" y="86"/>
                  <a:pt x="98" y="87"/>
                  <a:pt x="97" y="87"/>
                </a:cubicBezTo>
                <a:cubicBezTo>
                  <a:pt x="97" y="87"/>
                  <a:pt x="97" y="87"/>
                  <a:pt x="97" y="88"/>
                </a:cubicBezTo>
                <a:cubicBezTo>
                  <a:pt x="97" y="105"/>
                  <a:pt x="97" y="105"/>
                  <a:pt x="97" y="105"/>
                </a:cubicBezTo>
                <a:cubicBezTo>
                  <a:pt x="97" y="106"/>
                  <a:pt x="98" y="106"/>
                  <a:pt x="98" y="106"/>
                </a:cubicBezTo>
                <a:cubicBezTo>
                  <a:pt x="101" y="107"/>
                  <a:pt x="104" y="107"/>
                  <a:pt x="106" y="107"/>
                </a:cubicBezTo>
                <a:cubicBezTo>
                  <a:pt x="106" y="107"/>
                  <a:pt x="112" y="107"/>
                  <a:pt x="112" y="107"/>
                </a:cubicBezTo>
                <a:cubicBezTo>
                  <a:pt x="113" y="107"/>
                  <a:pt x="113" y="107"/>
                  <a:pt x="113" y="106"/>
                </a:cubicBezTo>
                <a:cubicBezTo>
                  <a:pt x="113" y="106"/>
                  <a:pt x="114" y="106"/>
                  <a:pt x="114" y="106"/>
                </a:cubicBezTo>
                <a:cubicBezTo>
                  <a:pt x="114" y="88"/>
                  <a:pt x="114" y="88"/>
                  <a:pt x="114" y="88"/>
                </a:cubicBezTo>
                <a:cubicBezTo>
                  <a:pt x="114" y="87"/>
                  <a:pt x="113" y="87"/>
                  <a:pt x="112" y="87"/>
                </a:cubicBezTo>
                <a:cubicBezTo>
                  <a:pt x="109" y="87"/>
                  <a:pt x="109" y="87"/>
                  <a:pt x="109" y="87"/>
                </a:cubicBezTo>
                <a:cubicBezTo>
                  <a:pt x="105" y="87"/>
                  <a:pt x="102" y="87"/>
                  <a:pt x="98" y="86"/>
                </a:cubicBezTo>
                <a:cubicBezTo>
                  <a:pt x="98" y="86"/>
                  <a:pt x="98" y="86"/>
                  <a:pt x="98" y="86"/>
                </a:cubicBezTo>
                <a:close/>
                <a:moveTo>
                  <a:pt x="134" y="86"/>
                </a:moveTo>
                <a:cubicBezTo>
                  <a:pt x="130" y="87"/>
                  <a:pt x="127" y="87"/>
                  <a:pt x="123" y="87"/>
                </a:cubicBezTo>
                <a:cubicBezTo>
                  <a:pt x="120" y="87"/>
                  <a:pt x="120" y="87"/>
                  <a:pt x="120" y="87"/>
                </a:cubicBezTo>
                <a:cubicBezTo>
                  <a:pt x="119" y="87"/>
                  <a:pt x="118" y="87"/>
                  <a:pt x="118" y="88"/>
                </a:cubicBezTo>
                <a:cubicBezTo>
                  <a:pt x="118" y="106"/>
                  <a:pt x="118" y="106"/>
                  <a:pt x="118" y="106"/>
                </a:cubicBezTo>
                <a:cubicBezTo>
                  <a:pt x="118" y="106"/>
                  <a:pt x="119" y="106"/>
                  <a:pt x="119" y="106"/>
                </a:cubicBezTo>
                <a:cubicBezTo>
                  <a:pt x="119" y="107"/>
                  <a:pt x="119" y="107"/>
                  <a:pt x="120" y="107"/>
                </a:cubicBezTo>
                <a:cubicBezTo>
                  <a:pt x="120" y="107"/>
                  <a:pt x="120" y="107"/>
                  <a:pt x="120" y="107"/>
                </a:cubicBezTo>
                <a:cubicBezTo>
                  <a:pt x="125" y="107"/>
                  <a:pt x="129" y="107"/>
                  <a:pt x="134" y="106"/>
                </a:cubicBezTo>
                <a:cubicBezTo>
                  <a:pt x="134" y="106"/>
                  <a:pt x="135" y="106"/>
                  <a:pt x="135" y="105"/>
                </a:cubicBezTo>
                <a:cubicBezTo>
                  <a:pt x="135" y="88"/>
                  <a:pt x="135" y="88"/>
                  <a:pt x="135" y="88"/>
                </a:cubicBezTo>
                <a:cubicBezTo>
                  <a:pt x="135" y="87"/>
                  <a:pt x="135" y="87"/>
                  <a:pt x="135" y="87"/>
                </a:cubicBezTo>
                <a:cubicBezTo>
                  <a:pt x="134" y="87"/>
                  <a:pt x="134" y="86"/>
                  <a:pt x="134" y="86"/>
                </a:cubicBezTo>
                <a:cubicBezTo>
                  <a:pt x="134" y="86"/>
                  <a:pt x="134" y="86"/>
                  <a:pt x="134" y="86"/>
                </a:cubicBezTo>
                <a:close/>
                <a:moveTo>
                  <a:pt x="80" y="85"/>
                </a:moveTo>
                <a:cubicBezTo>
                  <a:pt x="80" y="85"/>
                  <a:pt x="80" y="85"/>
                  <a:pt x="80" y="85"/>
                </a:cubicBezTo>
                <a:cubicBezTo>
                  <a:pt x="79" y="86"/>
                  <a:pt x="79" y="86"/>
                  <a:pt x="79" y="86"/>
                </a:cubicBezTo>
                <a:cubicBezTo>
                  <a:pt x="79" y="104"/>
                  <a:pt x="79" y="104"/>
                  <a:pt x="79" y="104"/>
                </a:cubicBezTo>
                <a:cubicBezTo>
                  <a:pt x="79" y="104"/>
                  <a:pt x="80" y="105"/>
                  <a:pt x="80" y="105"/>
                </a:cubicBezTo>
                <a:cubicBezTo>
                  <a:pt x="80" y="105"/>
                  <a:pt x="82" y="105"/>
                  <a:pt x="82" y="105"/>
                </a:cubicBezTo>
                <a:cubicBezTo>
                  <a:pt x="84" y="105"/>
                  <a:pt x="86" y="106"/>
                  <a:pt x="89" y="106"/>
                </a:cubicBezTo>
                <a:cubicBezTo>
                  <a:pt x="89" y="106"/>
                  <a:pt x="91" y="106"/>
                  <a:pt x="91" y="106"/>
                </a:cubicBezTo>
                <a:cubicBezTo>
                  <a:pt x="91" y="106"/>
                  <a:pt x="92" y="106"/>
                  <a:pt x="92" y="106"/>
                </a:cubicBezTo>
                <a:cubicBezTo>
                  <a:pt x="92" y="105"/>
                  <a:pt x="92" y="105"/>
                  <a:pt x="92" y="105"/>
                </a:cubicBezTo>
                <a:cubicBezTo>
                  <a:pt x="92" y="87"/>
                  <a:pt x="92" y="87"/>
                  <a:pt x="92" y="87"/>
                </a:cubicBezTo>
                <a:cubicBezTo>
                  <a:pt x="92" y="87"/>
                  <a:pt x="92" y="86"/>
                  <a:pt x="91" y="86"/>
                </a:cubicBezTo>
                <a:cubicBezTo>
                  <a:pt x="88" y="86"/>
                  <a:pt x="84" y="85"/>
                  <a:pt x="81" y="85"/>
                </a:cubicBezTo>
                <a:cubicBezTo>
                  <a:pt x="81" y="85"/>
                  <a:pt x="80" y="85"/>
                  <a:pt x="80" y="85"/>
                </a:cubicBezTo>
                <a:close/>
                <a:moveTo>
                  <a:pt x="152" y="85"/>
                </a:moveTo>
                <a:cubicBezTo>
                  <a:pt x="148" y="85"/>
                  <a:pt x="144" y="86"/>
                  <a:pt x="141" y="86"/>
                </a:cubicBezTo>
                <a:cubicBezTo>
                  <a:pt x="140" y="86"/>
                  <a:pt x="140" y="87"/>
                  <a:pt x="140" y="87"/>
                </a:cubicBezTo>
                <a:cubicBezTo>
                  <a:pt x="140" y="105"/>
                  <a:pt x="140" y="105"/>
                  <a:pt x="140" y="105"/>
                </a:cubicBezTo>
                <a:cubicBezTo>
                  <a:pt x="140" y="105"/>
                  <a:pt x="140" y="105"/>
                  <a:pt x="140" y="106"/>
                </a:cubicBezTo>
                <a:cubicBezTo>
                  <a:pt x="140" y="106"/>
                  <a:pt x="141" y="106"/>
                  <a:pt x="141" y="106"/>
                </a:cubicBezTo>
                <a:cubicBezTo>
                  <a:pt x="141" y="106"/>
                  <a:pt x="145" y="106"/>
                  <a:pt x="145" y="106"/>
                </a:cubicBezTo>
                <a:cubicBezTo>
                  <a:pt x="148" y="105"/>
                  <a:pt x="150" y="105"/>
                  <a:pt x="152" y="105"/>
                </a:cubicBezTo>
                <a:cubicBezTo>
                  <a:pt x="152" y="105"/>
                  <a:pt x="153" y="104"/>
                  <a:pt x="153" y="104"/>
                </a:cubicBezTo>
                <a:cubicBezTo>
                  <a:pt x="153" y="86"/>
                  <a:pt x="153" y="86"/>
                  <a:pt x="153" y="86"/>
                </a:cubicBezTo>
                <a:cubicBezTo>
                  <a:pt x="153" y="86"/>
                  <a:pt x="153" y="86"/>
                  <a:pt x="152" y="85"/>
                </a:cubicBezTo>
                <a:cubicBezTo>
                  <a:pt x="152" y="85"/>
                  <a:pt x="152" y="85"/>
                  <a:pt x="152" y="85"/>
                </a:cubicBezTo>
                <a:cubicBezTo>
                  <a:pt x="152" y="85"/>
                  <a:pt x="152" y="85"/>
                  <a:pt x="152" y="85"/>
                </a:cubicBezTo>
                <a:close/>
                <a:moveTo>
                  <a:pt x="63" y="83"/>
                </a:moveTo>
                <a:cubicBezTo>
                  <a:pt x="62" y="83"/>
                  <a:pt x="62" y="83"/>
                  <a:pt x="62" y="83"/>
                </a:cubicBezTo>
                <a:cubicBezTo>
                  <a:pt x="62" y="83"/>
                  <a:pt x="62" y="84"/>
                  <a:pt x="62" y="84"/>
                </a:cubicBezTo>
                <a:cubicBezTo>
                  <a:pt x="62" y="101"/>
                  <a:pt x="62" y="101"/>
                  <a:pt x="62" y="101"/>
                </a:cubicBezTo>
                <a:cubicBezTo>
                  <a:pt x="62" y="102"/>
                  <a:pt x="62" y="102"/>
                  <a:pt x="62" y="103"/>
                </a:cubicBezTo>
                <a:cubicBezTo>
                  <a:pt x="63" y="103"/>
                  <a:pt x="63" y="103"/>
                  <a:pt x="63" y="103"/>
                </a:cubicBezTo>
                <a:cubicBezTo>
                  <a:pt x="64" y="103"/>
                  <a:pt x="65" y="103"/>
                  <a:pt x="67" y="103"/>
                </a:cubicBezTo>
                <a:cubicBezTo>
                  <a:pt x="69" y="104"/>
                  <a:pt x="71" y="104"/>
                  <a:pt x="73" y="104"/>
                </a:cubicBezTo>
                <a:cubicBezTo>
                  <a:pt x="73" y="104"/>
                  <a:pt x="73" y="104"/>
                  <a:pt x="73" y="104"/>
                </a:cubicBezTo>
                <a:cubicBezTo>
                  <a:pt x="74" y="104"/>
                  <a:pt x="74" y="104"/>
                  <a:pt x="74" y="104"/>
                </a:cubicBezTo>
                <a:cubicBezTo>
                  <a:pt x="74" y="104"/>
                  <a:pt x="74" y="103"/>
                  <a:pt x="74" y="103"/>
                </a:cubicBezTo>
                <a:cubicBezTo>
                  <a:pt x="74" y="85"/>
                  <a:pt x="74" y="85"/>
                  <a:pt x="74" y="85"/>
                </a:cubicBezTo>
                <a:cubicBezTo>
                  <a:pt x="74" y="85"/>
                  <a:pt x="74" y="84"/>
                  <a:pt x="73" y="84"/>
                </a:cubicBezTo>
                <a:cubicBezTo>
                  <a:pt x="70" y="84"/>
                  <a:pt x="66" y="83"/>
                  <a:pt x="63" y="83"/>
                </a:cubicBezTo>
                <a:cubicBezTo>
                  <a:pt x="63" y="83"/>
                  <a:pt x="63" y="83"/>
                  <a:pt x="63" y="83"/>
                </a:cubicBezTo>
                <a:close/>
                <a:moveTo>
                  <a:pt x="169" y="83"/>
                </a:moveTo>
                <a:cubicBezTo>
                  <a:pt x="166" y="83"/>
                  <a:pt x="162" y="84"/>
                  <a:pt x="159" y="84"/>
                </a:cubicBezTo>
                <a:cubicBezTo>
                  <a:pt x="158" y="84"/>
                  <a:pt x="158" y="85"/>
                  <a:pt x="158" y="85"/>
                </a:cubicBezTo>
                <a:cubicBezTo>
                  <a:pt x="158" y="103"/>
                  <a:pt x="158" y="103"/>
                  <a:pt x="158" y="103"/>
                </a:cubicBezTo>
                <a:cubicBezTo>
                  <a:pt x="158" y="103"/>
                  <a:pt x="158" y="104"/>
                  <a:pt x="158" y="104"/>
                </a:cubicBezTo>
                <a:cubicBezTo>
                  <a:pt x="158" y="104"/>
                  <a:pt x="159" y="104"/>
                  <a:pt x="159" y="104"/>
                </a:cubicBezTo>
                <a:cubicBezTo>
                  <a:pt x="159" y="104"/>
                  <a:pt x="162" y="104"/>
                  <a:pt x="162" y="104"/>
                </a:cubicBezTo>
                <a:cubicBezTo>
                  <a:pt x="165" y="103"/>
                  <a:pt x="165" y="103"/>
                  <a:pt x="165" y="103"/>
                </a:cubicBezTo>
                <a:cubicBezTo>
                  <a:pt x="165" y="103"/>
                  <a:pt x="166" y="103"/>
                  <a:pt x="167" y="103"/>
                </a:cubicBezTo>
                <a:cubicBezTo>
                  <a:pt x="169" y="103"/>
                  <a:pt x="169" y="103"/>
                  <a:pt x="169" y="103"/>
                </a:cubicBezTo>
                <a:cubicBezTo>
                  <a:pt x="170" y="103"/>
                  <a:pt x="171" y="102"/>
                  <a:pt x="171" y="101"/>
                </a:cubicBezTo>
                <a:cubicBezTo>
                  <a:pt x="171" y="84"/>
                  <a:pt x="171" y="84"/>
                  <a:pt x="171" y="84"/>
                </a:cubicBezTo>
                <a:cubicBezTo>
                  <a:pt x="171" y="84"/>
                  <a:pt x="170" y="83"/>
                  <a:pt x="170" y="83"/>
                </a:cubicBezTo>
                <a:cubicBezTo>
                  <a:pt x="170" y="83"/>
                  <a:pt x="170" y="83"/>
                  <a:pt x="169" y="83"/>
                </a:cubicBezTo>
                <a:cubicBezTo>
                  <a:pt x="169" y="83"/>
                  <a:pt x="169" y="83"/>
                  <a:pt x="169" y="83"/>
                </a:cubicBezTo>
                <a:close/>
                <a:moveTo>
                  <a:pt x="187" y="79"/>
                </a:moveTo>
                <a:cubicBezTo>
                  <a:pt x="187" y="79"/>
                  <a:pt x="187" y="79"/>
                  <a:pt x="187" y="79"/>
                </a:cubicBezTo>
                <a:cubicBezTo>
                  <a:pt x="184" y="80"/>
                  <a:pt x="180" y="81"/>
                  <a:pt x="176" y="82"/>
                </a:cubicBezTo>
                <a:cubicBezTo>
                  <a:pt x="176" y="82"/>
                  <a:pt x="175" y="82"/>
                  <a:pt x="175" y="83"/>
                </a:cubicBezTo>
                <a:cubicBezTo>
                  <a:pt x="175" y="100"/>
                  <a:pt x="175" y="100"/>
                  <a:pt x="175" y="100"/>
                </a:cubicBezTo>
                <a:cubicBezTo>
                  <a:pt x="175" y="100"/>
                  <a:pt x="176" y="101"/>
                  <a:pt x="176" y="101"/>
                </a:cubicBezTo>
                <a:cubicBezTo>
                  <a:pt x="176" y="101"/>
                  <a:pt x="176" y="101"/>
                  <a:pt x="177" y="101"/>
                </a:cubicBezTo>
                <a:cubicBezTo>
                  <a:pt x="177" y="101"/>
                  <a:pt x="177" y="101"/>
                  <a:pt x="177" y="101"/>
                </a:cubicBezTo>
                <a:cubicBezTo>
                  <a:pt x="177" y="101"/>
                  <a:pt x="180" y="101"/>
                  <a:pt x="180" y="100"/>
                </a:cubicBezTo>
                <a:cubicBezTo>
                  <a:pt x="182" y="100"/>
                  <a:pt x="184" y="99"/>
                  <a:pt x="186" y="99"/>
                </a:cubicBezTo>
                <a:cubicBezTo>
                  <a:pt x="187" y="99"/>
                  <a:pt x="187" y="99"/>
                  <a:pt x="188" y="99"/>
                </a:cubicBezTo>
                <a:cubicBezTo>
                  <a:pt x="188" y="98"/>
                  <a:pt x="188" y="98"/>
                  <a:pt x="188" y="97"/>
                </a:cubicBezTo>
                <a:cubicBezTo>
                  <a:pt x="188" y="80"/>
                  <a:pt x="188" y="80"/>
                  <a:pt x="188" y="80"/>
                </a:cubicBezTo>
                <a:cubicBezTo>
                  <a:pt x="188" y="80"/>
                  <a:pt x="188" y="80"/>
                  <a:pt x="188" y="79"/>
                </a:cubicBezTo>
                <a:cubicBezTo>
                  <a:pt x="188" y="79"/>
                  <a:pt x="188" y="79"/>
                  <a:pt x="187" y="79"/>
                </a:cubicBezTo>
                <a:close/>
                <a:moveTo>
                  <a:pt x="45" y="79"/>
                </a:moveTo>
                <a:cubicBezTo>
                  <a:pt x="45" y="79"/>
                  <a:pt x="44" y="79"/>
                  <a:pt x="44" y="79"/>
                </a:cubicBezTo>
                <a:cubicBezTo>
                  <a:pt x="44" y="80"/>
                  <a:pt x="44" y="80"/>
                  <a:pt x="44" y="80"/>
                </a:cubicBezTo>
                <a:cubicBezTo>
                  <a:pt x="44" y="97"/>
                  <a:pt x="44" y="97"/>
                  <a:pt x="44" y="97"/>
                </a:cubicBezTo>
                <a:cubicBezTo>
                  <a:pt x="44" y="98"/>
                  <a:pt x="44" y="98"/>
                  <a:pt x="45" y="98"/>
                </a:cubicBezTo>
                <a:cubicBezTo>
                  <a:pt x="48" y="99"/>
                  <a:pt x="51" y="100"/>
                  <a:pt x="55" y="101"/>
                </a:cubicBezTo>
                <a:cubicBezTo>
                  <a:pt x="55" y="101"/>
                  <a:pt x="55" y="101"/>
                  <a:pt x="56" y="101"/>
                </a:cubicBezTo>
                <a:cubicBezTo>
                  <a:pt x="56" y="101"/>
                  <a:pt x="56" y="101"/>
                  <a:pt x="56" y="101"/>
                </a:cubicBezTo>
                <a:cubicBezTo>
                  <a:pt x="56" y="101"/>
                  <a:pt x="57" y="100"/>
                  <a:pt x="57" y="100"/>
                </a:cubicBezTo>
                <a:cubicBezTo>
                  <a:pt x="57" y="83"/>
                  <a:pt x="57" y="83"/>
                  <a:pt x="57" y="83"/>
                </a:cubicBezTo>
                <a:cubicBezTo>
                  <a:pt x="57" y="82"/>
                  <a:pt x="56" y="82"/>
                  <a:pt x="56" y="82"/>
                </a:cubicBezTo>
                <a:cubicBezTo>
                  <a:pt x="52" y="81"/>
                  <a:pt x="48" y="80"/>
                  <a:pt x="45" y="79"/>
                </a:cubicBezTo>
                <a:cubicBezTo>
                  <a:pt x="45" y="79"/>
                  <a:pt x="45" y="79"/>
                  <a:pt x="45" y="79"/>
                </a:cubicBezTo>
                <a:close/>
                <a:moveTo>
                  <a:pt x="205" y="72"/>
                </a:moveTo>
                <a:cubicBezTo>
                  <a:pt x="205" y="72"/>
                  <a:pt x="205" y="72"/>
                  <a:pt x="204" y="72"/>
                </a:cubicBezTo>
                <a:cubicBezTo>
                  <a:pt x="202" y="74"/>
                  <a:pt x="198" y="76"/>
                  <a:pt x="194" y="77"/>
                </a:cubicBezTo>
                <a:cubicBezTo>
                  <a:pt x="194" y="77"/>
                  <a:pt x="193" y="78"/>
                  <a:pt x="193" y="78"/>
                </a:cubicBezTo>
                <a:cubicBezTo>
                  <a:pt x="193" y="95"/>
                  <a:pt x="193" y="95"/>
                  <a:pt x="193" y="95"/>
                </a:cubicBezTo>
                <a:cubicBezTo>
                  <a:pt x="193" y="95"/>
                  <a:pt x="193" y="96"/>
                  <a:pt x="194" y="96"/>
                </a:cubicBezTo>
                <a:cubicBezTo>
                  <a:pt x="194" y="96"/>
                  <a:pt x="194" y="96"/>
                  <a:pt x="194" y="96"/>
                </a:cubicBezTo>
                <a:cubicBezTo>
                  <a:pt x="195" y="96"/>
                  <a:pt x="195" y="96"/>
                  <a:pt x="195" y="96"/>
                </a:cubicBezTo>
                <a:cubicBezTo>
                  <a:pt x="202" y="93"/>
                  <a:pt x="206" y="91"/>
                  <a:pt x="206" y="88"/>
                </a:cubicBezTo>
                <a:cubicBezTo>
                  <a:pt x="206" y="73"/>
                  <a:pt x="206" y="73"/>
                  <a:pt x="206" y="73"/>
                </a:cubicBezTo>
                <a:cubicBezTo>
                  <a:pt x="206" y="73"/>
                  <a:pt x="206" y="72"/>
                  <a:pt x="206" y="72"/>
                </a:cubicBezTo>
                <a:cubicBezTo>
                  <a:pt x="205" y="72"/>
                  <a:pt x="205" y="72"/>
                  <a:pt x="205" y="72"/>
                </a:cubicBezTo>
                <a:close/>
                <a:moveTo>
                  <a:pt x="27" y="72"/>
                </a:moveTo>
                <a:cubicBezTo>
                  <a:pt x="27" y="72"/>
                  <a:pt x="27" y="72"/>
                  <a:pt x="26" y="72"/>
                </a:cubicBezTo>
                <a:cubicBezTo>
                  <a:pt x="26" y="72"/>
                  <a:pt x="26" y="73"/>
                  <a:pt x="26" y="73"/>
                </a:cubicBezTo>
                <a:cubicBezTo>
                  <a:pt x="26" y="88"/>
                  <a:pt x="26" y="88"/>
                  <a:pt x="26" y="88"/>
                </a:cubicBezTo>
                <a:cubicBezTo>
                  <a:pt x="26" y="88"/>
                  <a:pt x="26" y="88"/>
                  <a:pt x="26" y="88"/>
                </a:cubicBezTo>
                <a:cubicBezTo>
                  <a:pt x="26" y="89"/>
                  <a:pt x="26" y="89"/>
                  <a:pt x="26" y="89"/>
                </a:cubicBezTo>
                <a:cubicBezTo>
                  <a:pt x="26" y="89"/>
                  <a:pt x="26" y="89"/>
                  <a:pt x="26" y="89"/>
                </a:cubicBezTo>
                <a:cubicBezTo>
                  <a:pt x="28" y="91"/>
                  <a:pt x="31" y="94"/>
                  <a:pt x="37" y="96"/>
                </a:cubicBezTo>
                <a:cubicBezTo>
                  <a:pt x="37" y="96"/>
                  <a:pt x="38" y="96"/>
                  <a:pt x="38" y="96"/>
                </a:cubicBezTo>
                <a:cubicBezTo>
                  <a:pt x="38" y="96"/>
                  <a:pt x="38" y="96"/>
                  <a:pt x="38" y="96"/>
                </a:cubicBezTo>
                <a:cubicBezTo>
                  <a:pt x="39" y="96"/>
                  <a:pt x="39" y="95"/>
                  <a:pt x="39" y="95"/>
                </a:cubicBezTo>
                <a:cubicBezTo>
                  <a:pt x="39" y="78"/>
                  <a:pt x="39" y="78"/>
                  <a:pt x="39" y="78"/>
                </a:cubicBezTo>
                <a:cubicBezTo>
                  <a:pt x="39" y="78"/>
                  <a:pt x="39" y="77"/>
                  <a:pt x="38" y="77"/>
                </a:cubicBezTo>
                <a:cubicBezTo>
                  <a:pt x="34" y="76"/>
                  <a:pt x="30" y="74"/>
                  <a:pt x="28" y="72"/>
                </a:cubicBezTo>
                <a:cubicBezTo>
                  <a:pt x="27" y="72"/>
                  <a:pt x="27" y="72"/>
                  <a:pt x="27" y="72"/>
                </a:cubicBezTo>
                <a:close/>
                <a:moveTo>
                  <a:pt x="27" y="62"/>
                </a:moveTo>
                <a:cubicBezTo>
                  <a:pt x="27" y="62"/>
                  <a:pt x="26" y="62"/>
                  <a:pt x="26" y="63"/>
                </a:cubicBezTo>
                <a:cubicBezTo>
                  <a:pt x="26" y="63"/>
                  <a:pt x="26" y="63"/>
                  <a:pt x="26" y="63"/>
                </a:cubicBezTo>
                <a:cubicBezTo>
                  <a:pt x="26" y="63"/>
                  <a:pt x="26" y="63"/>
                  <a:pt x="26" y="63"/>
                </a:cubicBezTo>
                <a:cubicBezTo>
                  <a:pt x="27" y="68"/>
                  <a:pt x="37" y="71"/>
                  <a:pt x="42" y="73"/>
                </a:cubicBezTo>
                <a:cubicBezTo>
                  <a:pt x="51" y="76"/>
                  <a:pt x="70" y="80"/>
                  <a:pt x="100" y="82"/>
                </a:cubicBezTo>
                <a:cubicBezTo>
                  <a:pt x="107" y="82"/>
                  <a:pt x="107" y="82"/>
                  <a:pt x="107" y="82"/>
                </a:cubicBezTo>
                <a:cubicBezTo>
                  <a:pt x="110" y="82"/>
                  <a:pt x="113" y="82"/>
                  <a:pt x="116" y="82"/>
                </a:cubicBezTo>
                <a:cubicBezTo>
                  <a:pt x="119" y="82"/>
                  <a:pt x="122" y="82"/>
                  <a:pt x="125" y="82"/>
                </a:cubicBezTo>
                <a:cubicBezTo>
                  <a:pt x="128" y="82"/>
                  <a:pt x="128" y="82"/>
                  <a:pt x="128" y="82"/>
                </a:cubicBezTo>
                <a:cubicBezTo>
                  <a:pt x="132" y="82"/>
                  <a:pt x="132" y="82"/>
                  <a:pt x="132" y="82"/>
                </a:cubicBezTo>
                <a:cubicBezTo>
                  <a:pt x="162" y="80"/>
                  <a:pt x="181" y="76"/>
                  <a:pt x="190" y="73"/>
                </a:cubicBezTo>
                <a:cubicBezTo>
                  <a:pt x="196" y="71"/>
                  <a:pt x="206" y="67"/>
                  <a:pt x="206" y="63"/>
                </a:cubicBezTo>
                <a:cubicBezTo>
                  <a:pt x="206" y="63"/>
                  <a:pt x="206" y="63"/>
                  <a:pt x="206" y="63"/>
                </a:cubicBezTo>
                <a:cubicBezTo>
                  <a:pt x="206" y="62"/>
                  <a:pt x="203" y="57"/>
                  <a:pt x="185" y="53"/>
                </a:cubicBezTo>
                <a:cubicBezTo>
                  <a:pt x="185" y="53"/>
                  <a:pt x="185" y="53"/>
                  <a:pt x="184" y="53"/>
                </a:cubicBezTo>
                <a:cubicBezTo>
                  <a:pt x="184" y="53"/>
                  <a:pt x="184" y="53"/>
                  <a:pt x="184" y="54"/>
                </a:cubicBezTo>
                <a:cubicBezTo>
                  <a:pt x="182" y="55"/>
                  <a:pt x="182" y="55"/>
                  <a:pt x="182" y="55"/>
                </a:cubicBezTo>
                <a:cubicBezTo>
                  <a:pt x="181" y="55"/>
                  <a:pt x="181" y="55"/>
                  <a:pt x="181" y="55"/>
                </a:cubicBezTo>
                <a:cubicBezTo>
                  <a:pt x="180" y="56"/>
                  <a:pt x="179" y="56"/>
                  <a:pt x="178" y="57"/>
                </a:cubicBezTo>
                <a:cubicBezTo>
                  <a:pt x="178" y="57"/>
                  <a:pt x="178" y="57"/>
                  <a:pt x="177" y="57"/>
                </a:cubicBezTo>
                <a:cubicBezTo>
                  <a:pt x="176" y="57"/>
                  <a:pt x="175" y="58"/>
                  <a:pt x="174" y="58"/>
                </a:cubicBezTo>
                <a:cubicBezTo>
                  <a:pt x="174" y="58"/>
                  <a:pt x="174" y="58"/>
                  <a:pt x="174" y="58"/>
                </a:cubicBezTo>
                <a:cubicBezTo>
                  <a:pt x="173" y="59"/>
                  <a:pt x="171" y="59"/>
                  <a:pt x="170" y="60"/>
                </a:cubicBezTo>
                <a:cubicBezTo>
                  <a:pt x="170" y="60"/>
                  <a:pt x="167" y="61"/>
                  <a:pt x="167" y="61"/>
                </a:cubicBezTo>
                <a:cubicBezTo>
                  <a:pt x="150" y="66"/>
                  <a:pt x="126" y="69"/>
                  <a:pt x="100" y="69"/>
                </a:cubicBezTo>
                <a:cubicBezTo>
                  <a:pt x="98" y="69"/>
                  <a:pt x="97" y="69"/>
                  <a:pt x="95" y="69"/>
                </a:cubicBezTo>
                <a:cubicBezTo>
                  <a:pt x="92" y="69"/>
                  <a:pt x="89" y="69"/>
                  <a:pt x="87" y="69"/>
                </a:cubicBezTo>
                <a:cubicBezTo>
                  <a:pt x="82" y="69"/>
                  <a:pt x="78" y="69"/>
                  <a:pt x="73" y="68"/>
                </a:cubicBezTo>
                <a:cubicBezTo>
                  <a:pt x="73" y="68"/>
                  <a:pt x="73" y="68"/>
                  <a:pt x="73" y="68"/>
                </a:cubicBezTo>
                <a:cubicBezTo>
                  <a:pt x="67" y="68"/>
                  <a:pt x="61" y="67"/>
                  <a:pt x="56" y="67"/>
                </a:cubicBezTo>
                <a:cubicBezTo>
                  <a:pt x="47" y="66"/>
                  <a:pt x="39" y="65"/>
                  <a:pt x="32" y="63"/>
                </a:cubicBezTo>
                <a:cubicBezTo>
                  <a:pt x="31" y="63"/>
                  <a:pt x="30" y="63"/>
                  <a:pt x="28" y="62"/>
                </a:cubicBezTo>
                <a:cubicBezTo>
                  <a:pt x="28" y="62"/>
                  <a:pt x="28" y="62"/>
                  <a:pt x="28" y="62"/>
                </a:cubicBezTo>
                <a:cubicBezTo>
                  <a:pt x="28" y="62"/>
                  <a:pt x="27" y="62"/>
                  <a:pt x="27" y="62"/>
                </a:cubicBezTo>
                <a:close/>
                <a:moveTo>
                  <a:pt x="77" y="44"/>
                </a:moveTo>
                <a:cubicBezTo>
                  <a:pt x="77" y="44"/>
                  <a:pt x="76" y="44"/>
                  <a:pt x="76" y="44"/>
                </a:cubicBezTo>
                <a:cubicBezTo>
                  <a:pt x="76" y="44"/>
                  <a:pt x="76" y="44"/>
                  <a:pt x="76" y="45"/>
                </a:cubicBezTo>
                <a:cubicBezTo>
                  <a:pt x="76" y="63"/>
                  <a:pt x="76" y="63"/>
                  <a:pt x="76" y="63"/>
                </a:cubicBezTo>
                <a:cubicBezTo>
                  <a:pt x="76" y="63"/>
                  <a:pt x="76" y="64"/>
                  <a:pt x="77" y="64"/>
                </a:cubicBezTo>
                <a:cubicBezTo>
                  <a:pt x="82" y="64"/>
                  <a:pt x="86" y="64"/>
                  <a:pt x="91" y="64"/>
                </a:cubicBezTo>
                <a:cubicBezTo>
                  <a:pt x="91" y="64"/>
                  <a:pt x="91" y="64"/>
                  <a:pt x="91" y="64"/>
                </a:cubicBezTo>
                <a:cubicBezTo>
                  <a:pt x="91" y="64"/>
                  <a:pt x="92" y="64"/>
                  <a:pt x="92" y="64"/>
                </a:cubicBezTo>
                <a:cubicBezTo>
                  <a:pt x="92" y="64"/>
                  <a:pt x="92" y="63"/>
                  <a:pt x="92" y="63"/>
                </a:cubicBezTo>
                <a:cubicBezTo>
                  <a:pt x="92" y="45"/>
                  <a:pt x="92" y="45"/>
                  <a:pt x="92" y="45"/>
                </a:cubicBezTo>
                <a:cubicBezTo>
                  <a:pt x="92" y="45"/>
                  <a:pt x="92" y="44"/>
                  <a:pt x="91" y="44"/>
                </a:cubicBezTo>
                <a:cubicBezTo>
                  <a:pt x="90" y="44"/>
                  <a:pt x="89" y="44"/>
                  <a:pt x="88" y="44"/>
                </a:cubicBezTo>
                <a:cubicBezTo>
                  <a:pt x="88" y="44"/>
                  <a:pt x="88" y="44"/>
                  <a:pt x="88" y="44"/>
                </a:cubicBezTo>
                <a:cubicBezTo>
                  <a:pt x="84" y="44"/>
                  <a:pt x="80" y="44"/>
                  <a:pt x="77" y="44"/>
                </a:cubicBezTo>
                <a:cubicBezTo>
                  <a:pt x="77" y="44"/>
                  <a:pt x="77" y="44"/>
                  <a:pt x="77" y="44"/>
                </a:cubicBezTo>
                <a:close/>
                <a:moveTo>
                  <a:pt x="112" y="44"/>
                </a:moveTo>
                <a:cubicBezTo>
                  <a:pt x="109" y="44"/>
                  <a:pt x="105" y="44"/>
                  <a:pt x="102" y="44"/>
                </a:cubicBezTo>
                <a:cubicBezTo>
                  <a:pt x="101" y="44"/>
                  <a:pt x="101" y="44"/>
                  <a:pt x="101" y="44"/>
                </a:cubicBezTo>
                <a:cubicBezTo>
                  <a:pt x="100" y="44"/>
                  <a:pt x="99" y="44"/>
                  <a:pt x="98" y="44"/>
                </a:cubicBezTo>
                <a:cubicBezTo>
                  <a:pt x="98" y="44"/>
                  <a:pt x="97" y="45"/>
                  <a:pt x="97" y="45"/>
                </a:cubicBezTo>
                <a:cubicBezTo>
                  <a:pt x="97" y="63"/>
                  <a:pt x="97" y="63"/>
                  <a:pt x="97" y="63"/>
                </a:cubicBezTo>
                <a:cubicBezTo>
                  <a:pt x="97" y="64"/>
                  <a:pt x="98" y="64"/>
                  <a:pt x="98" y="64"/>
                </a:cubicBezTo>
                <a:cubicBezTo>
                  <a:pt x="100" y="64"/>
                  <a:pt x="101" y="64"/>
                  <a:pt x="102" y="64"/>
                </a:cubicBezTo>
                <a:cubicBezTo>
                  <a:pt x="103" y="64"/>
                  <a:pt x="103" y="64"/>
                  <a:pt x="103" y="64"/>
                </a:cubicBezTo>
                <a:cubicBezTo>
                  <a:pt x="106" y="64"/>
                  <a:pt x="108" y="64"/>
                  <a:pt x="111" y="64"/>
                </a:cubicBezTo>
                <a:cubicBezTo>
                  <a:pt x="113" y="64"/>
                  <a:pt x="113" y="64"/>
                  <a:pt x="113" y="64"/>
                </a:cubicBezTo>
                <a:cubicBezTo>
                  <a:pt x="113" y="64"/>
                  <a:pt x="114" y="63"/>
                  <a:pt x="114" y="63"/>
                </a:cubicBezTo>
                <a:cubicBezTo>
                  <a:pt x="114" y="45"/>
                  <a:pt x="114" y="45"/>
                  <a:pt x="114" y="45"/>
                </a:cubicBezTo>
                <a:cubicBezTo>
                  <a:pt x="114" y="44"/>
                  <a:pt x="113" y="44"/>
                  <a:pt x="113" y="44"/>
                </a:cubicBezTo>
                <a:cubicBezTo>
                  <a:pt x="113" y="44"/>
                  <a:pt x="113" y="44"/>
                  <a:pt x="112" y="44"/>
                </a:cubicBezTo>
                <a:cubicBezTo>
                  <a:pt x="112" y="44"/>
                  <a:pt x="112" y="44"/>
                  <a:pt x="112" y="44"/>
                </a:cubicBezTo>
                <a:close/>
                <a:moveTo>
                  <a:pt x="130" y="42"/>
                </a:moveTo>
                <a:cubicBezTo>
                  <a:pt x="127" y="43"/>
                  <a:pt x="123" y="43"/>
                  <a:pt x="120" y="43"/>
                </a:cubicBezTo>
                <a:cubicBezTo>
                  <a:pt x="119" y="43"/>
                  <a:pt x="118" y="44"/>
                  <a:pt x="118" y="44"/>
                </a:cubicBezTo>
                <a:cubicBezTo>
                  <a:pt x="118" y="62"/>
                  <a:pt x="118" y="62"/>
                  <a:pt x="118" y="62"/>
                </a:cubicBezTo>
                <a:cubicBezTo>
                  <a:pt x="118" y="62"/>
                  <a:pt x="119" y="63"/>
                  <a:pt x="119" y="63"/>
                </a:cubicBezTo>
                <a:cubicBezTo>
                  <a:pt x="119" y="63"/>
                  <a:pt x="119" y="63"/>
                  <a:pt x="120" y="63"/>
                </a:cubicBezTo>
                <a:cubicBezTo>
                  <a:pt x="120" y="63"/>
                  <a:pt x="120" y="63"/>
                  <a:pt x="120" y="63"/>
                </a:cubicBezTo>
                <a:cubicBezTo>
                  <a:pt x="123" y="63"/>
                  <a:pt x="127" y="63"/>
                  <a:pt x="130" y="62"/>
                </a:cubicBezTo>
                <a:cubicBezTo>
                  <a:pt x="131" y="62"/>
                  <a:pt x="131" y="62"/>
                  <a:pt x="131" y="61"/>
                </a:cubicBezTo>
                <a:cubicBezTo>
                  <a:pt x="131" y="44"/>
                  <a:pt x="131" y="44"/>
                  <a:pt x="131" y="44"/>
                </a:cubicBezTo>
                <a:cubicBezTo>
                  <a:pt x="131" y="43"/>
                  <a:pt x="131" y="43"/>
                  <a:pt x="131" y="43"/>
                </a:cubicBezTo>
                <a:cubicBezTo>
                  <a:pt x="131" y="43"/>
                  <a:pt x="131" y="42"/>
                  <a:pt x="130" y="42"/>
                </a:cubicBezTo>
                <a:cubicBezTo>
                  <a:pt x="130" y="42"/>
                  <a:pt x="130" y="42"/>
                  <a:pt x="130" y="42"/>
                </a:cubicBezTo>
                <a:close/>
                <a:moveTo>
                  <a:pt x="59" y="42"/>
                </a:moveTo>
                <a:cubicBezTo>
                  <a:pt x="59" y="42"/>
                  <a:pt x="59" y="43"/>
                  <a:pt x="58" y="43"/>
                </a:cubicBezTo>
                <a:cubicBezTo>
                  <a:pt x="58" y="43"/>
                  <a:pt x="58" y="43"/>
                  <a:pt x="58" y="44"/>
                </a:cubicBezTo>
                <a:cubicBezTo>
                  <a:pt x="58" y="61"/>
                  <a:pt x="58" y="61"/>
                  <a:pt x="58" y="61"/>
                </a:cubicBezTo>
                <a:cubicBezTo>
                  <a:pt x="58" y="62"/>
                  <a:pt x="58" y="62"/>
                  <a:pt x="59" y="62"/>
                </a:cubicBezTo>
                <a:cubicBezTo>
                  <a:pt x="62" y="63"/>
                  <a:pt x="66" y="63"/>
                  <a:pt x="70" y="63"/>
                </a:cubicBezTo>
                <a:cubicBezTo>
                  <a:pt x="70" y="63"/>
                  <a:pt x="70" y="63"/>
                  <a:pt x="70" y="63"/>
                </a:cubicBezTo>
                <a:cubicBezTo>
                  <a:pt x="70" y="63"/>
                  <a:pt x="70" y="63"/>
                  <a:pt x="71" y="63"/>
                </a:cubicBezTo>
                <a:cubicBezTo>
                  <a:pt x="71" y="63"/>
                  <a:pt x="71" y="62"/>
                  <a:pt x="71" y="62"/>
                </a:cubicBezTo>
                <a:cubicBezTo>
                  <a:pt x="71" y="44"/>
                  <a:pt x="71" y="44"/>
                  <a:pt x="71" y="44"/>
                </a:cubicBezTo>
                <a:cubicBezTo>
                  <a:pt x="71" y="44"/>
                  <a:pt x="70" y="43"/>
                  <a:pt x="70" y="43"/>
                </a:cubicBezTo>
                <a:cubicBezTo>
                  <a:pt x="66" y="43"/>
                  <a:pt x="63" y="43"/>
                  <a:pt x="59" y="42"/>
                </a:cubicBezTo>
                <a:cubicBezTo>
                  <a:pt x="59" y="42"/>
                  <a:pt x="59" y="42"/>
                  <a:pt x="59" y="42"/>
                </a:cubicBezTo>
                <a:close/>
                <a:moveTo>
                  <a:pt x="148" y="40"/>
                </a:moveTo>
                <a:cubicBezTo>
                  <a:pt x="144" y="41"/>
                  <a:pt x="141" y="41"/>
                  <a:pt x="137" y="42"/>
                </a:cubicBezTo>
                <a:cubicBezTo>
                  <a:pt x="137" y="42"/>
                  <a:pt x="136" y="42"/>
                  <a:pt x="136" y="43"/>
                </a:cubicBezTo>
                <a:cubicBezTo>
                  <a:pt x="136" y="60"/>
                  <a:pt x="136" y="60"/>
                  <a:pt x="136" y="60"/>
                </a:cubicBezTo>
                <a:cubicBezTo>
                  <a:pt x="136" y="61"/>
                  <a:pt x="136" y="61"/>
                  <a:pt x="137" y="61"/>
                </a:cubicBezTo>
                <a:cubicBezTo>
                  <a:pt x="137" y="61"/>
                  <a:pt x="137" y="61"/>
                  <a:pt x="137" y="61"/>
                </a:cubicBezTo>
                <a:cubicBezTo>
                  <a:pt x="137" y="61"/>
                  <a:pt x="137" y="61"/>
                  <a:pt x="138" y="61"/>
                </a:cubicBezTo>
                <a:cubicBezTo>
                  <a:pt x="141" y="61"/>
                  <a:pt x="145" y="60"/>
                  <a:pt x="148" y="60"/>
                </a:cubicBezTo>
                <a:cubicBezTo>
                  <a:pt x="149" y="60"/>
                  <a:pt x="149" y="59"/>
                  <a:pt x="149" y="59"/>
                </a:cubicBezTo>
                <a:cubicBezTo>
                  <a:pt x="149" y="41"/>
                  <a:pt x="149" y="41"/>
                  <a:pt x="149" y="41"/>
                </a:cubicBezTo>
                <a:cubicBezTo>
                  <a:pt x="149" y="41"/>
                  <a:pt x="149" y="41"/>
                  <a:pt x="149" y="40"/>
                </a:cubicBezTo>
                <a:cubicBezTo>
                  <a:pt x="149" y="40"/>
                  <a:pt x="148" y="40"/>
                  <a:pt x="148" y="40"/>
                </a:cubicBezTo>
                <a:cubicBezTo>
                  <a:pt x="148" y="40"/>
                  <a:pt x="148" y="40"/>
                  <a:pt x="148" y="40"/>
                </a:cubicBezTo>
                <a:close/>
                <a:moveTo>
                  <a:pt x="41" y="40"/>
                </a:moveTo>
                <a:cubicBezTo>
                  <a:pt x="41" y="40"/>
                  <a:pt x="41" y="40"/>
                  <a:pt x="41" y="40"/>
                </a:cubicBezTo>
                <a:cubicBezTo>
                  <a:pt x="40" y="41"/>
                  <a:pt x="40" y="41"/>
                  <a:pt x="40" y="41"/>
                </a:cubicBezTo>
                <a:cubicBezTo>
                  <a:pt x="40" y="59"/>
                  <a:pt x="40" y="59"/>
                  <a:pt x="40" y="59"/>
                </a:cubicBezTo>
                <a:cubicBezTo>
                  <a:pt x="40" y="59"/>
                  <a:pt x="41" y="60"/>
                  <a:pt x="41" y="60"/>
                </a:cubicBezTo>
                <a:cubicBezTo>
                  <a:pt x="42" y="60"/>
                  <a:pt x="42" y="60"/>
                  <a:pt x="42" y="60"/>
                </a:cubicBezTo>
                <a:cubicBezTo>
                  <a:pt x="44" y="60"/>
                  <a:pt x="46" y="61"/>
                  <a:pt x="48" y="61"/>
                </a:cubicBezTo>
                <a:cubicBezTo>
                  <a:pt x="50" y="61"/>
                  <a:pt x="50" y="61"/>
                  <a:pt x="50" y="61"/>
                </a:cubicBezTo>
                <a:cubicBezTo>
                  <a:pt x="50" y="61"/>
                  <a:pt x="52" y="61"/>
                  <a:pt x="52" y="61"/>
                </a:cubicBezTo>
                <a:cubicBezTo>
                  <a:pt x="52" y="61"/>
                  <a:pt x="52" y="61"/>
                  <a:pt x="53" y="61"/>
                </a:cubicBezTo>
                <a:cubicBezTo>
                  <a:pt x="53" y="61"/>
                  <a:pt x="53" y="61"/>
                  <a:pt x="53" y="60"/>
                </a:cubicBezTo>
                <a:cubicBezTo>
                  <a:pt x="53" y="43"/>
                  <a:pt x="53" y="43"/>
                  <a:pt x="53" y="43"/>
                </a:cubicBezTo>
                <a:cubicBezTo>
                  <a:pt x="53" y="42"/>
                  <a:pt x="53" y="42"/>
                  <a:pt x="52" y="42"/>
                </a:cubicBezTo>
                <a:cubicBezTo>
                  <a:pt x="48" y="41"/>
                  <a:pt x="45" y="41"/>
                  <a:pt x="41" y="40"/>
                </a:cubicBezTo>
                <a:cubicBezTo>
                  <a:pt x="41" y="40"/>
                  <a:pt x="41" y="40"/>
                  <a:pt x="41" y="40"/>
                </a:cubicBezTo>
                <a:close/>
                <a:moveTo>
                  <a:pt x="23" y="36"/>
                </a:moveTo>
                <a:cubicBezTo>
                  <a:pt x="23" y="36"/>
                  <a:pt x="23" y="36"/>
                  <a:pt x="23" y="37"/>
                </a:cubicBezTo>
                <a:cubicBezTo>
                  <a:pt x="23" y="37"/>
                  <a:pt x="22" y="37"/>
                  <a:pt x="22" y="38"/>
                </a:cubicBezTo>
                <a:cubicBezTo>
                  <a:pt x="22" y="55"/>
                  <a:pt x="22" y="55"/>
                  <a:pt x="22" y="55"/>
                </a:cubicBezTo>
                <a:cubicBezTo>
                  <a:pt x="22" y="55"/>
                  <a:pt x="23" y="56"/>
                  <a:pt x="23" y="56"/>
                </a:cubicBezTo>
                <a:cubicBezTo>
                  <a:pt x="24" y="56"/>
                  <a:pt x="26" y="56"/>
                  <a:pt x="27" y="57"/>
                </a:cubicBezTo>
                <a:cubicBezTo>
                  <a:pt x="29" y="57"/>
                  <a:pt x="31" y="58"/>
                  <a:pt x="33" y="58"/>
                </a:cubicBezTo>
                <a:cubicBezTo>
                  <a:pt x="34" y="58"/>
                  <a:pt x="34" y="58"/>
                  <a:pt x="34" y="58"/>
                </a:cubicBezTo>
                <a:cubicBezTo>
                  <a:pt x="34" y="58"/>
                  <a:pt x="34" y="58"/>
                  <a:pt x="34" y="58"/>
                </a:cubicBezTo>
                <a:cubicBezTo>
                  <a:pt x="34" y="58"/>
                  <a:pt x="35" y="58"/>
                  <a:pt x="35" y="58"/>
                </a:cubicBezTo>
                <a:cubicBezTo>
                  <a:pt x="35" y="58"/>
                  <a:pt x="35" y="58"/>
                  <a:pt x="35" y="57"/>
                </a:cubicBezTo>
                <a:cubicBezTo>
                  <a:pt x="35" y="40"/>
                  <a:pt x="35" y="40"/>
                  <a:pt x="35" y="40"/>
                </a:cubicBezTo>
                <a:cubicBezTo>
                  <a:pt x="35" y="39"/>
                  <a:pt x="35" y="39"/>
                  <a:pt x="34" y="39"/>
                </a:cubicBezTo>
                <a:cubicBezTo>
                  <a:pt x="31" y="38"/>
                  <a:pt x="27" y="37"/>
                  <a:pt x="24" y="36"/>
                </a:cubicBezTo>
                <a:cubicBezTo>
                  <a:pt x="24" y="36"/>
                  <a:pt x="24" y="36"/>
                  <a:pt x="23" y="36"/>
                </a:cubicBezTo>
                <a:close/>
                <a:moveTo>
                  <a:pt x="166" y="36"/>
                </a:moveTo>
                <a:cubicBezTo>
                  <a:pt x="162" y="37"/>
                  <a:pt x="159" y="38"/>
                  <a:pt x="155" y="39"/>
                </a:cubicBezTo>
                <a:cubicBezTo>
                  <a:pt x="154" y="39"/>
                  <a:pt x="154" y="39"/>
                  <a:pt x="154" y="40"/>
                </a:cubicBezTo>
                <a:cubicBezTo>
                  <a:pt x="154" y="57"/>
                  <a:pt x="154" y="57"/>
                  <a:pt x="154" y="57"/>
                </a:cubicBezTo>
                <a:cubicBezTo>
                  <a:pt x="154" y="58"/>
                  <a:pt x="154" y="58"/>
                  <a:pt x="155" y="58"/>
                </a:cubicBezTo>
                <a:cubicBezTo>
                  <a:pt x="155" y="58"/>
                  <a:pt x="155" y="58"/>
                  <a:pt x="155" y="58"/>
                </a:cubicBezTo>
                <a:cubicBezTo>
                  <a:pt x="155" y="58"/>
                  <a:pt x="155" y="58"/>
                  <a:pt x="155" y="58"/>
                </a:cubicBezTo>
                <a:cubicBezTo>
                  <a:pt x="159" y="58"/>
                  <a:pt x="163" y="57"/>
                  <a:pt x="166" y="56"/>
                </a:cubicBezTo>
                <a:cubicBezTo>
                  <a:pt x="167" y="56"/>
                  <a:pt x="167" y="55"/>
                  <a:pt x="167" y="55"/>
                </a:cubicBezTo>
                <a:cubicBezTo>
                  <a:pt x="167" y="38"/>
                  <a:pt x="167" y="38"/>
                  <a:pt x="167" y="38"/>
                </a:cubicBezTo>
                <a:cubicBezTo>
                  <a:pt x="167" y="37"/>
                  <a:pt x="167" y="37"/>
                  <a:pt x="167" y="37"/>
                </a:cubicBezTo>
                <a:cubicBezTo>
                  <a:pt x="166" y="36"/>
                  <a:pt x="166" y="36"/>
                  <a:pt x="166" y="36"/>
                </a:cubicBezTo>
                <a:cubicBezTo>
                  <a:pt x="166" y="36"/>
                  <a:pt x="166" y="36"/>
                  <a:pt x="166" y="36"/>
                </a:cubicBezTo>
                <a:close/>
                <a:moveTo>
                  <a:pt x="6" y="29"/>
                </a:moveTo>
                <a:cubicBezTo>
                  <a:pt x="5" y="29"/>
                  <a:pt x="5" y="29"/>
                  <a:pt x="5" y="29"/>
                </a:cubicBezTo>
                <a:cubicBezTo>
                  <a:pt x="5" y="30"/>
                  <a:pt x="5" y="30"/>
                  <a:pt x="5" y="30"/>
                </a:cubicBezTo>
                <a:cubicBezTo>
                  <a:pt x="5" y="45"/>
                  <a:pt x="5" y="45"/>
                  <a:pt x="5" y="45"/>
                </a:cubicBezTo>
                <a:cubicBezTo>
                  <a:pt x="5" y="48"/>
                  <a:pt x="8" y="51"/>
                  <a:pt x="16" y="53"/>
                </a:cubicBezTo>
                <a:cubicBezTo>
                  <a:pt x="16" y="53"/>
                  <a:pt x="16" y="53"/>
                  <a:pt x="16" y="53"/>
                </a:cubicBezTo>
                <a:cubicBezTo>
                  <a:pt x="17" y="53"/>
                  <a:pt x="17" y="53"/>
                  <a:pt x="17" y="53"/>
                </a:cubicBezTo>
                <a:cubicBezTo>
                  <a:pt x="17" y="53"/>
                  <a:pt x="17" y="53"/>
                  <a:pt x="17" y="52"/>
                </a:cubicBezTo>
                <a:cubicBezTo>
                  <a:pt x="17" y="35"/>
                  <a:pt x="17" y="35"/>
                  <a:pt x="17" y="35"/>
                </a:cubicBezTo>
                <a:cubicBezTo>
                  <a:pt x="17" y="35"/>
                  <a:pt x="17" y="34"/>
                  <a:pt x="17" y="34"/>
                </a:cubicBezTo>
                <a:cubicBezTo>
                  <a:pt x="12" y="33"/>
                  <a:pt x="9" y="31"/>
                  <a:pt x="6" y="30"/>
                </a:cubicBezTo>
                <a:cubicBezTo>
                  <a:pt x="6" y="29"/>
                  <a:pt x="6" y="29"/>
                  <a:pt x="6" y="29"/>
                </a:cubicBezTo>
                <a:close/>
                <a:moveTo>
                  <a:pt x="184" y="29"/>
                </a:moveTo>
                <a:cubicBezTo>
                  <a:pt x="183" y="29"/>
                  <a:pt x="183" y="29"/>
                  <a:pt x="183" y="30"/>
                </a:cubicBezTo>
                <a:cubicBezTo>
                  <a:pt x="180" y="31"/>
                  <a:pt x="177" y="33"/>
                  <a:pt x="173" y="34"/>
                </a:cubicBezTo>
                <a:cubicBezTo>
                  <a:pt x="172" y="34"/>
                  <a:pt x="172" y="35"/>
                  <a:pt x="172" y="35"/>
                </a:cubicBezTo>
                <a:cubicBezTo>
                  <a:pt x="172" y="52"/>
                  <a:pt x="172" y="52"/>
                  <a:pt x="172" y="52"/>
                </a:cubicBezTo>
                <a:cubicBezTo>
                  <a:pt x="172" y="53"/>
                  <a:pt x="172" y="53"/>
                  <a:pt x="172" y="53"/>
                </a:cubicBezTo>
                <a:cubicBezTo>
                  <a:pt x="173" y="53"/>
                  <a:pt x="173" y="53"/>
                  <a:pt x="173" y="53"/>
                </a:cubicBezTo>
                <a:cubicBezTo>
                  <a:pt x="173" y="53"/>
                  <a:pt x="173" y="53"/>
                  <a:pt x="173" y="53"/>
                </a:cubicBezTo>
                <a:cubicBezTo>
                  <a:pt x="177" y="52"/>
                  <a:pt x="180" y="50"/>
                  <a:pt x="182" y="49"/>
                </a:cubicBezTo>
                <a:cubicBezTo>
                  <a:pt x="183" y="48"/>
                  <a:pt x="183" y="48"/>
                  <a:pt x="183" y="48"/>
                </a:cubicBezTo>
                <a:cubicBezTo>
                  <a:pt x="183" y="48"/>
                  <a:pt x="184" y="48"/>
                  <a:pt x="184" y="48"/>
                </a:cubicBezTo>
                <a:cubicBezTo>
                  <a:pt x="184" y="47"/>
                  <a:pt x="185" y="46"/>
                  <a:pt x="185" y="45"/>
                </a:cubicBezTo>
                <a:cubicBezTo>
                  <a:pt x="185" y="30"/>
                  <a:pt x="185" y="30"/>
                  <a:pt x="185" y="30"/>
                </a:cubicBezTo>
                <a:cubicBezTo>
                  <a:pt x="185" y="30"/>
                  <a:pt x="185" y="30"/>
                  <a:pt x="184" y="29"/>
                </a:cubicBezTo>
                <a:cubicBezTo>
                  <a:pt x="184" y="29"/>
                  <a:pt x="184" y="29"/>
                  <a:pt x="184" y="29"/>
                </a:cubicBezTo>
                <a:close/>
                <a:moveTo>
                  <a:pt x="95" y="5"/>
                </a:moveTo>
                <a:cubicBezTo>
                  <a:pt x="37" y="5"/>
                  <a:pt x="5" y="14"/>
                  <a:pt x="5" y="20"/>
                </a:cubicBezTo>
                <a:cubicBezTo>
                  <a:pt x="5" y="25"/>
                  <a:pt x="14" y="28"/>
                  <a:pt x="21" y="30"/>
                </a:cubicBezTo>
                <a:cubicBezTo>
                  <a:pt x="30" y="33"/>
                  <a:pt x="48" y="37"/>
                  <a:pt x="79" y="39"/>
                </a:cubicBezTo>
                <a:cubicBezTo>
                  <a:pt x="82" y="39"/>
                  <a:pt x="82" y="39"/>
                  <a:pt x="82" y="39"/>
                </a:cubicBezTo>
                <a:cubicBezTo>
                  <a:pt x="83" y="39"/>
                  <a:pt x="85" y="39"/>
                  <a:pt x="86" y="39"/>
                </a:cubicBezTo>
                <a:cubicBezTo>
                  <a:pt x="89" y="39"/>
                  <a:pt x="92" y="39"/>
                  <a:pt x="95" y="39"/>
                </a:cubicBezTo>
                <a:cubicBezTo>
                  <a:pt x="98" y="39"/>
                  <a:pt x="101" y="39"/>
                  <a:pt x="104" y="39"/>
                </a:cubicBezTo>
                <a:cubicBezTo>
                  <a:pt x="105" y="39"/>
                  <a:pt x="106" y="39"/>
                  <a:pt x="107" y="39"/>
                </a:cubicBezTo>
                <a:cubicBezTo>
                  <a:pt x="111" y="39"/>
                  <a:pt x="111" y="39"/>
                  <a:pt x="111" y="39"/>
                </a:cubicBezTo>
                <a:cubicBezTo>
                  <a:pt x="141" y="37"/>
                  <a:pt x="160" y="33"/>
                  <a:pt x="168" y="30"/>
                </a:cubicBezTo>
                <a:cubicBezTo>
                  <a:pt x="174" y="28"/>
                  <a:pt x="184" y="25"/>
                  <a:pt x="185" y="21"/>
                </a:cubicBezTo>
                <a:cubicBezTo>
                  <a:pt x="184" y="14"/>
                  <a:pt x="152" y="5"/>
                  <a:pt x="95" y="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pic>
        <p:nvPicPr>
          <p:cNvPr id="10" name="Graphic 9" descr="Lightbulb">
            <a:extLst>
              <a:ext uri="{FF2B5EF4-FFF2-40B4-BE49-F238E27FC236}">
                <a16:creationId xmlns:a16="http://schemas.microsoft.com/office/drawing/2014/main" id="{45DBC06F-176F-4261-A500-19DABE24F03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89269" y="1757840"/>
            <a:ext cx="584294" cy="584294"/>
          </a:xfrm>
          <a:prstGeom prst="rect">
            <a:avLst/>
          </a:prstGeom>
        </p:spPr>
      </p:pic>
      <p:pic>
        <p:nvPicPr>
          <p:cNvPr id="12" name="Graphic 11" descr="Wreath">
            <a:extLst>
              <a:ext uri="{FF2B5EF4-FFF2-40B4-BE49-F238E27FC236}">
                <a16:creationId xmlns:a16="http://schemas.microsoft.com/office/drawing/2014/main" id="{63AD430D-38B3-4BBC-8996-7F783C6D231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068479" y="1645348"/>
            <a:ext cx="797348" cy="797348"/>
          </a:xfrm>
          <a:prstGeom prst="rect">
            <a:avLst/>
          </a:prstGeom>
        </p:spPr>
      </p:pic>
    </p:spTree>
    <p:extLst>
      <p:ext uri="{BB962C8B-B14F-4D97-AF65-F5344CB8AC3E}">
        <p14:creationId xmlns:p14="http://schemas.microsoft.com/office/powerpoint/2010/main" val="4584291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903"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sym typeface="Montserrat" panose="00000500000000000000" pitchFamily="2" charset="0"/>
            </a:endParaRPr>
          </a:p>
        </p:txBody>
      </p:sp>
      <p:sp>
        <p:nvSpPr>
          <p:cNvPr id="13" name="Espace réservé du numéro de diapositive 4">
            <a:extLst>
              <a:ext uri="{FF2B5EF4-FFF2-40B4-BE49-F238E27FC236}">
                <a16:creationId xmlns:a16="http://schemas.microsoft.com/office/drawing/2014/main" id="{E790D2E0-0F21-4621-8F06-C8A4B08D1CBE}"/>
              </a:ext>
            </a:extLst>
          </p:cNvPr>
          <p:cNvSpPr>
            <a:spLocks noGrp="1"/>
          </p:cNvSpPr>
          <p:nvPr>
            <p:ph type="sldNum" sz="quarter" idx="12"/>
          </p:nvPr>
        </p:nvSpPr>
        <p:spPr>
          <a:xfrm>
            <a:off x="11620500" y="6426200"/>
            <a:ext cx="350520" cy="24384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C5DC16-0D22-4C7F-9249-BF4D2D91D79F}" type="slidenum">
              <a:rPr kumimoji="0" lang="en-US" sz="1050" b="0" i="0" u="none" strike="noStrike" kern="1200" cap="none" spc="0" normalizeH="0" baseline="0" noProof="0" smtClean="0">
                <a:ln>
                  <a:noFill/>
                </a:ln>
                <a:solidFill>
                  <a:prstClr val="white">
                    <a:lumMod val="50000"/>
                  </a:prstClr>
                </a:solidFill>
                <a:effectLst/>
                <a:uLnTx/>
                <a:uFillTx/>
                <a:latin typeface="Montserrat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50" b="0" i="0" u="none" strike="noStrike" kern="1200" cap="none" spc="0" normalizeH="0" baseline="0" noProof="0" dirty="0">
              <a:ln>
                <a:noFill/>
              </a:ln>
              <a:solidFill>
                <a:prstClr val="white">
                  <a:lumMod val="50000"/>
                </a:prstClr>
              </a:solidFill>
              <a:effectLst/>
              <a:uLnTx/>
              <a:uFillTx/>
              <a:latin typeface="Montserrat SemiBold"/>
              <a:ea typeface="+mn-ea"/>
              <a:cs typeface="+mn-cs"/>
            </a:endParaRPr>
          </a:p>
        </p:txBody>
      </p:sp>
      <p:pic>
        <p:nvPicPr>
          <p:cNvPr id="25" name="Picture 24" descr="A picture containing clock, drawing&#10;&#10;Description automatically generated">
            <a:extLst>
              <a:ext uri="{FF2B5EF4-FFF2-40B4-BE49-F238E27FC236}">
                <a16:creationId xmlns:a16="http://schemas.microsoft.com/office/drawing/2014/main" id="{08496543-4688-4A5D-9297-283E4805332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1561" y="6194274"/>
            <a:ext cx="2150311" cy="216814"/>
          </a:xfrm>
          <a:prstGeom prst="rect">
            <a:avLst/>
          </a:prstGeom>
        </p:spPr>
      </p:pic>
      <p:sp>
        <p:nvSpPr>
          <p:cNvPr id="18" name="Subtitle 2">
            <a:extLst>
              <a:ext uri="{FF2B5EF4-FFF2-40B4-BE49-F238E27FC236}">
                <a16:creationId xmlns:a16="http://schemas.microsoft.com/office/drawing/2014/main" id="{FD48FD3C-8269-4C1D-82FB-432A4C1E0B1C}"/>
              </a:ext>
            </a:extLst>
          </p:cNvPr>
          <p:cNvSpPr txBox="1">
            <a:spLocks/>
          </p:cNvSpPr>
          <p:nvPr/>
        </p:nvSpPr>
        <p:spPr>
          <a:xfrm>
            <a:off x="643211" y="288108"/>
            <a:ext cx="8297321" cy="933605"/>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r>
              <a:rPr lang="en-US" sz="4800" dirty="0">
                <a:solidFill>
                  <a:srgbClr val="FF0000"/>
                </a:solidFill>
              </a:rPr>
              <a:t> </a:t>
            </a:r>
          </a:p>
        </p:txBody>
      </p:sp>
      <p:sp>
        <p:nvSpPr>
          <p:cNvPr id="108" name="TextBox 107">
            <a:extLst>
              <a:ext uri="{FF2B5EF4-FFF2-40B4-BE49-F238E27FC236}">
                <a16:creationId xmlns:a16="http://schemas.microsoft.com/office/drawing/2014/main" id="{B64B5617-C640-4789-9C9C-F60FCD0412E7}"/>
              </a:ext>
            </a:extLst>
          </p:cNvPr>
          <p:cNvSpPr txBox="1"/>
          <p:nvPr/>
        </p:nvSpPr>
        <p:spPr>
          <a:xfrm>
            <a:off x="806906" y="3012310"/>
            <a:ext cx="3353761" cy="1532334"/>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ctr" anchorCtr="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mj-lt"/>
                <a:ea typeface="+mn-ea"/>
                <a:cs typeface="+mn-cs"/>
              </a:rPr>
              <a:t>Differentiation</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mj-lt"/>
                <a:ea typeface="+mn-ea"/>
                <a:cs typeface="+mn-cs"/>
              </a:rPr>
              <a:t>Turn transformation costs into a subscription model</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a typeface="+mn-ea"/>
              <a:cs typeface="+mn-cs"/>
            </a:endParaRPr>
          </a:p>
        </p:txBody>
      </p:sp>
      <p:sp>
        <p:nvSpPr>
          <p:cNvPr id="109" name="Flowchart: Connector 108">
            <a:extLst>
              <a:ext uri="{FF2B5EF4-FFF2-40B4-BE49-F238E27FC236}">
                <a16:creationId xmlns:a16="http://schemas.microsoft.com/office/drawing/2014/main" id="{0229B08C-41B8-4E9F-9605-41F440DC5DC4}"/>
              </a:ext>
            </a:extLst>
          </p:cNvPr>
          <p:cNvSpPr/>
          <p:nvPr/>
        </p:nvSpPr>
        <p:spPr>
          <a:xfrm>
            <a:off x="1946216" y="1541119"/>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mj-lt"/>
              <a:ea typeface="+mn-ea"/>
              <a:cs typeface="+mn-cs"/>
            </a:endParaRPr>
          </a:p>
        </p:txBody>
      </p:sp>
      <p:sp>
        <p:nvSpPr>
          <p:cNvPr id="110" name="TextBox 109">
            <a:extLst>
              <a:ext uri="{FF2B5EF4-FFF2-40B4-BE49-F238E27FC236}">
                <a16:creationId xmlns:a16="http://schemas.microsoft.com/office/drawing/2014/main" id="{FDD896C9-52F0-47D2-932E-88097E34BADE}"/>
              </a:ext>
            </a:extLst>
          </p:cNvPr>
          <p:cNvSpPr txBox="1"/>
          <p:nvPr/>
        </p:nvSpPr>
        <p:spPr>
          <a:xfrm>
            <a:off x="4454049" y="3012310"/>
            <a:ext cx="3353761" cy="1532334"/>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b" anchorCtr="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mj-lt"/>
                <a:ea typeface="+mn-ea"/>
                <a:cs typeface="+mn-cs"/>
              </a:rPr>
              <a:t>Revenue recognition</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mj-lt"/>
                <a:ea typeface="+mn-ea"/>
                <a:cs typeface="+mn-cs"/>
              </a:rPr>
              <a:t>Full revenue and margin recognition upfront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a typeface="+mn-ea"/>
              <a:cs typeface="+mn-cs"/>
            </a:endParaRPr>
          </a:p>
        </p:txBody>
      </p:sp>
      <p:grpSp>
        <p:nvGrpSpPr>
          <p:cNvPr id="111" name="Groupe 716">
            <a:extLst>
              <a:ext uri="{FF2B5EF4-FFF2-40B4-BE49-F238E27FC236}">
                <a16:creationId xmlns:a16="http://schemas.microsoft.com/office/drawing/2014/main" id="{1312E2A3-696D-421B-A015-8E83236FCA79}"/>
              </a:ext>
            </a:extLst>
          </p:cNvPr>
          <p:cNvGrpSpPr/>
          <p:nvPr/>
        </p:nvGrpSpPr>
        <p:grpSpPr>
          <a:xfrm>
            <a:off x="5714164" y="1793021"/>
            <a:ext cx="520205" cy="527346"/>
            <a:chOff x="8810632" y="8632825"/>
            <a:chExt cx="787400" cy="719138"/>
          </a:xfrm>
          <a:solidFill>
            <a:srgbClr val="573EEF"/>
          </a:solidFill>
        </p:grpSpPr>
        <p:grpSp>
          <p:nvGrpSpPr>
            <p:cNvPr id="112" name="Group 288">
              <a:extLst>
                <a:ext uri="{FF2B5EF4-FFF2-40B4-BE49-F238E27FC236}">
                  <a16:creationId xmlns:a16="http://schemas.microsoft.com/office/drawing/2014/main" id="{DEEBAB42-FF17-4A88-BB8B-4BAC657D9C96}"/>
                </a:ext>
              </a:extLst>
            </p:cNvPr>
            <p:cNvGrpSpPr>
              <a:grpSpLocks noChangeAspect="1"/>
            </p:cNvGrpSpPr>
            <p:nvPr/>
          </p:nvGrpSpPr>
          <p:grpSpPr bwMode="auto">
            <a:xfrm>
              <a:off x="8888413" y="8632825"/>
              <a:ext cx="606425" cy="625475"/>
              <a:chOff x="5599" y="5438"/>
              <a:chExt cx="382" cy="394"/>
            </a:xfrm>
            <a:grpFill/>
          </p:grpSpPr>
          <p:sp>
            <p:nvSpPr>
              <p:cNvPr id="114" name="Freeform 290">
                <a:extLst>
                  <a:ext uri="{FF2B5EF4-FFF2-40B4-BE49-F238E27FC236}">
                    <a16:creationId xmlns:a16="http://schemas.microsoft.com/office/drawing/2014/main" id="{2E553C85-A9F8-4DCF-B7C1-43AAAB9CF1B3}"/>
                  </a:ext>
                </a:extLst>
              </p:cNvPr>
              <p:cNvSpPr>
                <a:spLocks noEditPoints="1"/>
              </p:cNvSpPr>
              <p:nvPr/>
            </p:nvSpPr>
            <p:spPr bwMode="auto">
              <a:xfrm>
                <a:off x="5599" y="5590"/>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7" y="0"/>
                      <a:pt x="39" y="2"/>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5" name="Freeform 291">
                <a:extLst>
                  <a:ext uri="{FF2B5EF4-FFF2-40B4-BE49-F238E27FC236}">
                    <a16:creationId xmlns:a16="http://schemas.microsoft.com/office/drawing/2014/main" id="{33BC82FC-8760-4A17-B070-9AFD001186D6}"/>
                  </a:ext>
                </a:extLst>
              </p:cNvPr>
              <p:cNvSpPr>
                <a:spLocks noEditPoints="1"/>
              </p:cNvSpPr>
              <p:nvPr/>
            </p:nvSpPr>
            <p:spPr bwMode="auto">
              <a:xfrm>
                <a:off x="5737" y="5590"/>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7" y="0"/>
                      <a:pt x="39" y="2"/>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6" name="Freeform 292">
                <a:extLst>
                  <a:ext uri="{FF2B5EF4-FFF2-40B4-BE49-F238E27FC236}">
                    <a16:creationId xmlns:a16="http://schemas.microsoft.com/office/drawing/2014/main" id="{CB904D9A-8E3D-4359-9757-ECF32F4386FE}"/>
                  </a:ext>
                </a:extLst>
              </p:cNvPr>
              <p:cNvSpPr>
                <a:spLocks noEditPoints="1"/>
              </p:cNvSpPr>
              <p:nvPr/>
            </p:nvSpPr>
            <p:spPr bwMode="auto">
              <a:xfrm>
                <a:off x="5875" y="5590"/>
                <a:ext cx="106"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8" y="0"/>
                      <a:pt x="39" y="2"/>
                      <a:pt x="39" y="3"/>
                    </a:cubicBezTo>
                    <a:cubicBezTo>
                      <a:pt x="39" y="36"/>
                      <a:pt x="39" y="36"/>
                      <a:pt x="39" y="36"/>
                    </a:cubicBezTo>
                    <a:cubicBezTo>
                      <a:pt x="39" y="38"/>
                      <a:pt x="38"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7" name="Freeform 293">
                <a:extLst>
                  <a:ext uri="{FF2B5EF4-FFF2-40B4-BE49-F238E27FC236}">
                    <a16:creationId xmlns:a16="http://schemas.microsoft.com/office/drawing/2014/main" id="{23F2BE6A-4EBF-4FAF-8D3D-3691E8B712BC}"/>
                  </a:ext>
                </a:extLst>
              </p:cNvPr>
              <p:cNvSpPr>
                <a:spLocks noEditPoints="1"/>
              </p:cNvSpPr>
              <p:nvPr/>
            </p:nvSpPr>
            <p:spPr bwMode="auto">
              <a:xfrm>
                <a:off x="5875" y="5726"/>
                <a:ext cx="106"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8" y="0"/>
                      <a:pt x="39" y="1"/>
                      <a:pt x="39" y="3"/>
                    </a:cubicBezTo>
                    <a:cubicBezTo>
                      <a:pt x="39" y="36"/>
                      <a:pt x="39" y="36"/>
                      <a:pt x="39" y="36"/>
                    </a:cubicBezTo>
                    <a:cubicBezTo>
                      <a:pt x="39" y="38"/>
                      <a:pt x="38"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8" name="Freeform 294">
                <a:extLst>
                  <a:ext uri="{FF2B5EF4-FFF2-40B4-BE49-F238E27FC236}">
                    <a16:creationId xmlns:a16="http://schemas.microsoft.com/office/drawing/2014/main" id="{8B1F8E5B-FF2E-41B5-9378-704C4FBF49B5}"/>
                  </a:ext>
                </a:extLst>
              </p:cNvPr>
              <p:cNvSpPr>
                <a:spLocks noEditPoints="1"/>
              </p:cNvSpPr>
              <p:nvPr/>
            </p:nvSpPr>
            <p:spPr bwMode="auto">
              <a:xfrm>
                <a:off x="5599" y="5726"/>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7" y="0"/>
                      <a:pt x="39" y="1"/>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19" name="Freeform 295">
                <a:extLst>
                  <a:ext uri="{FF2B5EF4-FFF2-40B4-BE49-F238E27FC236}">
                    <a16:creationId xmlns:a16="http://schemas.microsoft.com/office/drawing/2014/main" id="{03A14095-8E23-4877-A71B-2EDBCEFB058D}"/>
                  </a:ext>
                </a:extLst>
              </p:cNvPr>
              <p:cNvSpPr>
                <a:spLocks noEditPoints="1"/>
              </p:cNvSpPr>
              <p:nvPr/>
            </p:nvSpPr>
            <p:spPr bwMode="auto">
              <a:xfrm>
                <a:off x="5737" y="5726"/>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7" y="0"/>
                      <a:pt x="39" y="1"/>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20" name="Freeform 296">
                <a:extLst>
                  <a:ext uri="{FF2B5EF4-FFF2-40B4-BE49-F238E27FC236}">
                    <a16:creationId xmlns:a16="http://schemas.microsoft.com/office/drawing/2014/main" id="{3C0B4650-0881-4BD5-A37E-4F86C86964DA}"/>
                  </a:ext>
                </a:extLst>
              </p:cNvPr>
              <p:cNvSpPr>
                <a:spLocks/>
              </p:cNvSpPr>
              <p:nvPr/>
            </p:nvSpPr>
            <p:spPr bwMode="auto">
              <a:xfrm>
                <a:off x="5642" y="5438"/>
                <a:ext cx="16" cy="79"/>
              </a:xfrm>
              <a:custGeom>
                <a:avLst/>
                <a:gdLst>
                  <a:gd name="T0" fmla="*/ 3 w 6"/>
                  <a:gd name="T1" fmla="*/ 29 h 29"/>
                  <a:gd name="T2" fmla="*/ 0 w 6"/>
                  <a:gd name="T3" fmla="*/ 26 h 29"/>
                  <a:gd name="T4" fmla="*/ 0 w 6"/>
                  <a:gd name="T5" fmla="*/ 3 h 29"/>
                  <a:gd name="T6" fmla="*/ 3 w 6"/>
                  <a:gd name="T7" fmla="*/ 0 h 29"/>
                  <a:gd name="T8" fmla="*/ 6 w 6"/>
                  <a:gd name="T9" fmla="*/ 3 h 29"/>
                  <a:gd name="T10" fmla="*/ 6 w 6"/>
                  <a:gd name="T11" fmla="*/ 26 h 29"/>
                  <a:gd name="T12" fmla="*/ 3 w 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6" h="29">
                    <a:moveTo>
                      <a:pt x="3" y="29"/>
                    </a:moveTo>
                    <a:cubicBezTo>
                      <a:pt x="1" y="29"/>
                      <a:pt x="0" y="28"/>
                      <a:pt x="0" y="26"/>
                    </a:cubicBezTo>
                    <a:cubicBezTo>
                      <a:pt x="0" y="3"/>
                      <a:pt x="0" y="3"/>
                      <a:pt x="0" y="3"/>
                    </a:cubicBezTo>
                    <a:cubicBezTo>
                      <a:pt x="0" y="2"/>
                      <a:pt x="1" y="0"/>
                      <a:pt x="3" y="0"/>
                    </a:cubicBezTo>
                    <a:cubicBezTo>
                      <a:pt x="5" y="0"/>
                      <a:pt x="6" y="2"/>
                      <a:pt x="6" y="3"/>
                    </a:cubicBezTo>
                    <a:cubicBezTo>
                      <a:pt x="6" y="26"/>
                      <a:pt x="6" y="26"/>
                      <a:pt x="6" y="26"/>
                    </a:cubicBezTo>
                    <a:cubicBezTo>
                      <a:pt x="6" y="28"/>
                      <a:pt x="5" y="29"/>
                      <a:pt x="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sp>
            <p:nvSpPr>
              <p:cNvPr id="121" name="Freeform 297">
                <a:extLst>
                  <a:ext uri="{FF2B5EF4-FFF2-40B4-BE49-F238E27FC236}">
                    <a16:creationId xmlns:a16="http://schemas.microsoft.com/office/drawing/2014/main" id="{6B1195D1-1468-4AB6-9436-86AC751654FF}"/>
                  </a:ext>
                </a:extLst>
              </p:cNvPr>
              <p:cNvSpPr>
                <a:spLocks/>
              </p:cNvSpPr>
              <p:nvPr/>
            </p:nvSpPr>
            <p:spPr bwMode="auto">
              <a:xfrm>
                <a:off x="5921" y="5438"/>
                <a:ext cx="16" cy="79"/>
              </a:xfrm>
              <a:custGeom>
                <a:avLst/>
                <a:gdLst>
                  <a:gd name="T0" fmla="*/ 3 w 6"/>
                  <a:gd name="T1" fmla="*/ 29 h 29"/>
                  <a:gd name="T2" fmla="*/ 0 w 6"/>
                  <a:gd name="T3" fmla="*/ 26 h 29"/>
                  <a:gd name="T4" fmla="*/ 0 w 6"/>
                  <a:gd name="T5" fmla="*/ 3 h 29"/>
                  <a:gd name="T6" fmla="*/ 3 w 6"/>
                  <a:gd name="T7" fmla="*/ 0 h 29"/>
                  <a:gd name="T8" fmla="*/ 6 w 6"/>
                  <a:gd name="T9" fmla="*/ 3 h 29"/>
                  <a:gd name="T10" fmla="*/ 6 w 6"/>
                  <a:gd name="T11" fmla="*/ 26 h 29"/>
                  <a:gd name="T12" fmla="*/ 3 w 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6" h="29">
                    <a:moveTo>
                      <a:pt x="3" y="29"/>
                    </a:moveTo>
                    <a:cubicBezTo>
                      <a:pt x="1" y="29"/>
                      <a:pt x="0" y="28"/>
                      <a:pt x="0" y="26"/>
                    </a:cubicBezTo>
                    <a:cubicBezTo>
                      <a:pt x="0" y="3"/>
                      <a:pt x="0" y="3"/>
                      <a:pt x="0" y="3"/>
                    </a:cubicBezTo>
                    <a:cubicBezTo>
                      <a:pt x="0" y="2"/>
                      <a:pt x="1" y="0"/>
                      <a:pt x="3" y="0"/>
                    </a:cubicBezTo>
                    <a:cubicBezTo>
                      <a:pt x="4" y="0"/>
                      <a:pt x="6" y="2"/>
                      <a:pt x="6" y="3"/>
                    </a:cubicBezTo>
                    <a:cubicBezTo>
                      <a:pt x="6" y="26"/>
                      <a:pt x="6" y="26"/>
                      <a:pt x="6" y="26"/>
                    </a:cubicBezTo>
                    <a:cubicBezTo>
                      <a:pt x="6" y="28"/>
                      <a:pt x="4" y="29"/>
                      <a:pt x="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grpSp>
        <p:sp>
          <p:nvSpPr>
            <p:cNvPr id="113" name="Freeform 289">
              <a:extLst>
                <a:ext uri="{FF2B5EF4-FFF2-40B4-BE49-F238E27FC236}">
                  <a16:creationId xmlns:a16="http://schemas.microsoft.com/office/drawing/2014/main" id="{8A2CFBC5-9DC7-4C3C-AD9E-19A1EFE20259}"/>
                </a:ext>
              </a:extLst>
            </p:cNvPr>
            <p:cNvSpPr>
              <a:spLocks noEditPoints="1"/>
            </p:cNvSpPr>
            <p:nvPr/>
          </p:nvSpPr>
          <p:spPr bwMode="auto">
            <a:xfrm>
              <a:off x="8810632" y="8693150"/>
              <a:ext cx="787400" cy="658813"/>
            </a:xfrm>
            <a:custGeom>
              <a:avLst/>
              <a:gdLst>
                <a:gd name="T0" fmla="*/ 176 w 183"/>
                <a:gd name="T1" fmla="*/ 153 h 153"/>
                <a:gd name="T2" fmla="*/ 7 w 183"/>
                <a:gd name="T3" fmla="*/ 153 h 153"/>
                <a:gd name="T4" fmla="*/ 0 w 183"/>
                <a:gd name="T5" fmla="*/ 145 h 153"/>
                <a:gd name="T6" fmla="*/ 0 w 183"/>
                <a:gd name="T7" fmla="*/ 29 h 153"/>
                <a:gd name="T8" fmla="*/ 0 w 183"/>
                <a:gd name="T9" fmla="*/ 28 h 153"/>
                <a:gd name="T10" fmla="*/ 0 w 183"/>
                <a:gd name="T11" fmla="*/ 28 h 153"/>
                <a:gd name="T12" fmla="*/ 0 w 183"/>
                <a:gd name="T13" fmla="*/ 7 h 153"/>
                <a:gd name="T14" fmla="*/ 7 w 183"/>
                <a:gd name="T15" fmla="*/ 0 h 153"/>
                <a:gd name="T16" fmla="*/ 176 w 183"/>
                <a:gd name="T17" fmla="*/ 0 h 153"/>
                <a:gd name="T18" fmla="*/ 183 w 183"/>
                <a:gd name="T19" fmla="*/ 7 h 153"/>
                <a:gd name="T20" fmla="*/ 183 w 183"/>
                <a:gd name="T21" fmla="*/ 28 h 153"/>
                <a:gd name="T22" fmla="*/ 183 w 183"/>
                <a:gd name="T23" fmla="*/ 28 h 153"/>
                <a:gd name="T24" fmla="*/ 183 w 183"/>
                <a:gd name="T25" fmla="*/ 29 h 153"/>
                <a:gd name="T26" fmla="*/ 183 w 183"/>
                <a:gd name="T27" fmla="*/ 145 h 153"/>
                <a:gd name="T28" fmla="*/ 176 w 183"/>
                <a:gd name="T29" fmla="*/ 153 h 153"/>
                <a:gd name="T30" fmla="*/ 6 w 183"/>
                <a:gd name="T31" fmla="*/ 32 h 153"/>
                <a:gd name="T32" fmla="*/ 6 w 183"/>
                <a:gd name="T33" fmla="*/ 145 h 153"/>
                <a:gd name="T34" fmla="*/ 7 w 183"/>
                <a:gd name="T35" fmla="*/ 147 h 153"/>
                <a:gd name="T36" fmla="*/ 176 w 183"/>
                <a:gd name="T37" fmla="*/ 147 h 153"/>
                <a:gd name="T38" fmla="*/ 177 w 183"/>
                <a:gd name="T39" fmla="*/ 145 h 153"/>
                <a:gd name="T40" fmla="*/ 177 w 183"/>
                <a:gd name="T41" fmla="*/ 32 h 153"/>
                <a:gd name="T42" fmla="*/ 6 w 183"/>
                <a:gd name="T43" fmla="*/ 32 h 153"/>
                <a:gd name="T44" fmla="*/ 6 w 183"/>
                <a:gd name="T45" fmla="*/ 25 h 153"/>
                <a:gd name="T46" fmla="*/ 177 w 183"/>
                <a:gd name="T47" fmla="*/ 25 h 153"/>
                <a:gd name="T48" fmla="*/ 177 w 183"/>
                <a:gd name="T49" fmla="*/ 7 h 153"/>
                <a:gd name="T50" fmla="*/ 176 w 183"/>
                <a:gd name="T51" fmla="*/ 6 h 153"/>
                <a:gd name="T52" fmla="*/ 7 w 183"/>
                <a:gd name="T53" fmla="*/ 6 h 153"/>
                <a:gd name="T54" fmla="*/ 6 w 183"/>
                <a:gd name="T55" fmla="*/ 7 h 153"/>
                <a:gd name="T56" fmla="*/ 6 w 183"/>
                <a:gd name="T57" fmla="*/ 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 h="153">
                  <a:moveTo>
                    <a:pt x="176" y="153"/>
                  </a:moveTo>
                  <a:cubicBezTo>
                    <a:pt x="7" y="153"/>
                    <a:pt x="7" y="153"/>
                    <a:pt x="7" y="153"/>
                  </a:cubicBezTo>
                  <a:cubicBezTo>
                    <a:pt x="3" y="153"/>
                    <a:pt x="0" y="149"/>
                    <a:pt x="0" y="145"/>
                  </a:cubicBezTo>
                  <a:cubicBezTo>
                    <a:pt x="0" y="29"/>
                    <a:pt x="0" y="29"/>
                    <a:pt x="0" y="29"/>
                  </a:cubicBezTo>
                  <a:cubicBezTo>
                    <a:pt x="0" y="29"/>
                    <a:pt x="0" y="29"/>
                    <a:pt x="0" y="28"/>
                  </a:cubicBezTo>
                  <a:cubicBezTo>
                    <a:pt x="0" y="28"/>
                    <a:pt x="0" y="28"/>
                    <a:pt x="0" y="28"/>
                  </a:cubicBezTo>
                  <a:cubicBezTo>
                    <a:pt x="0" y="7"/>
                    <a:pt x="0" y="7"/>
                    <a:pt x="0" y="7"/>
                  </a:cubicBezTo>
                  <a:cubicBezTo>
                    <a:pt x="0" y="3"/>
                    <a:pt x="3" y="0"/>
                    <a:pt x="7" y="0"/>
                  </a:cubicBezTo>
                  <a:cubicBezTo>
                    <a:pt x="176" y="0"/>
                    <a:pt x="176" y="0"/>
                    <a:pt x="176" y="0"/>
                  </a:cubicBezTo>
                  <a:cubicBezTo>
                    <a:pt x="180" y="0"/>
                    <a:pt x="183" y="3"/>
                    <a:pt x="183" y="7"/>
                  </a:cubicBezTo>
                  <a:cubicBezTo>
                    <a:pt x="183" y="28"/>
                    <a:pt x="183" y="28"/>
                    <a:pt x="183" y="28"/>
                  </a:cubicBezTo>
                  <a:cubicBezTo>
                    <a:pt x="183" y="28"/>
                    <a:pt x="183" y="28"/>
                    <a:pt x="183" y="28"/>
                  </a:cubicBezTo>
                  <a:cubicBezTo>
                    <a:pt x="183" y="29"/>
                    <a:pt x="183" y="29"/>
                    <a:pt x="183" y="29"/>
                  </a:cubicBezTo>
                  <a:cubicBezTo>
                    <a:pt x="183" y="145"/>
                    <a:pt x="183" y="145"/>
                    <a:pt x="183" y="145"/>
                  </a:cubicBezTo>
                  <a:cubicBezTo>
                    <a:pt x="183" y="149"/>
                    <a:pt x="180" y="153"/>
                    <a:pt x="176" y="153"/>
                  </a:cubicBezTo>
                  <a:close/>
                  <a:moveTo>
                    <a:pt x="6" y="32"/>
                  </a:moveTo>
                  <a:cubicBezTo>
                    <a:pt x="6" y="145"/>
                    <a:pt x="6" y="145"/>
                    <a:pt x="6" y="145"/>
                  </a:cubicBezTo>
                  <a:cubicBezTo>
                    <a:pt x="6" y="146"/>
                    <a:pt x="7" y="147"/>
                    <a:pt x="7" y="147"/>
                  </a:cubicBezTo>
                  <a:cubicBezTo>
                    <a:pt x="176" y="147"/>
                    <a:pt x="176" y="147"/>
                    <a:pt x="176" y="147"/>
                  </a:cubicBezTo>
                  <a:cubicBezTo>
                    <a:pt x="177" y="147"/>
                    <a:pt x="177" y="146"/>
                    <a:pt x="177" y="145"/>
                  </a:cubicBezTo>
                  <a:cubicBezTo>
                    <a:pt x="177" y="32"/>
                    <a:pt x="177" y="32"/>
                    <a:pt x="177" y="32"/>
                  </a:cubicBezTo>
                  <a:lnTo>
                    <a:pt x="6" y="32"/>
                  </a:lnTo>
                  <a:close/>
                  <a:moveTo>
                    <a:pt x="6" y="25"/>
                  </a:moveTo>
                  <a:cubicBezTo>
                    <a:pt x="177" y="25"/>
                    <a:pt x="177" y="25"/>
                    <a:pt x="177" y="25"/>
                  </a:cubicBezTo>
                  <a:cubicBezTo>
                    <a:pt x="177" y="7"/>
                    <a:pt x="177" y="7"/>
                    <a:pt x="177" y="7"/>
                  </a:cubicBezTo>
                  <a:cubicBezTo>
                    <a:pt x="177" y="6"/>
                    <a:pt x="177" y="6"/>
                    <a:pt x="176" y="6"/>
                  </a:cubicBezTo>
                  <a:cubicBezTo>
                    <a:pt x="7" y="6"/>
                    <a:pt x="7" y="6"/>
                    <a:pt x="7" y="6"/>
                  </a:cubicBezTo>
                  <a:cubicBezTo>
                    <a:pt x="7" y="6"/>
                    <a:pt x="6" y="6"/>
                    <a:pt x="6" y="7"/>
                  </a:cubicBezTo>
                  <a:lnTo>
                    <a:pt x="6"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grpSp>
      <p:sp>
        <p:nvSpPr>
          <p:cNvPr id="128" name="Flowchart: Connector 127">
            <a:extLst>
              <a:ext uri="{FF2B5EF4-FFF2-40B4-BE49-F238E27FC236}">
                <a16:creationId xmlns:a16="http://schemas.microsoft.com/office/drawing/2014/main" id="{5291E72A-4C5D-4F04-B3FC-B1C99FA4A83B}"/>
              </a:ext>
            </a:extLst>
          </p:cNvPr>
          <p:cNvSpPr/>
          <p:nvPr/>
        </p:nvSpPr>
        <p:spPr>
          <a:xfrm>
            <a:off x="5562843" y="1566249"/>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mj-lt"/>
              <a:ea typeface="+mn-ea"/>
              <a:cs typeface="+mn-cs"/>
            </a:endParaRPr>
          </a:p>
        </p:txBody>
      </p:sp>
      <p:sp>
        <p:nvSpPr>
          <p:cNvPr id="129" name="Flowchart: Connector 128">
            <a:extLst>
              <a:ext uri="{FF2B5EF4-FFF2-40B4-BE49-F238E27FC236}">
                <a16:creationId xmlns:a16="http://schemas.microsoft.com/office/drawing/2014/main" id="{DD9A678A-B7AC-4FB1-ADE9-ED6A5015DFAD}"/>
              </a:ext>
            </a:extLst>
          </p:cNvPr>
          <p:cNvSpPr/>
          <p:nvPr/>
        </p:nvSpPr>
        <p:spPr>
          <a:xfrm>
            <a:off x="9257136" y="1549769"/>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mj-lt"/>
              <a:ea typeface="+mn-ea"/>
              <a:cs typeface="+mn-cs"/>
            </a:endParaRPr>
          </a:p>
        </p:txBody>
      </p:sp>
      <p:sp>
        <p:nvSpPr>
          <p:cNvPr id="130" name="TextBox 129">
            <a:extLst>
              <a:ext uri="{FF2B5EF4-FFF2-40B4-BE49-F238E27FC236}">
                <a16:creationId xmlns:a16="http://schemas.microsoft.com/office/drawing/2014/main" id="{8D74824D-27AD-4805-906F-801C594C8163}"/>
              </a:ext>
            </a:extLst>
          </p:cNvPr>
          <p:cNvSpPr txBox="1"/>
          <p:nvPr/>
        </p:nvSpPr>
        <p:spPr>
          <a:xfrm>
            <a:off x="8101192" y="3012311"/>
            <a:ext cx="3353761" cy="1532334"/>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b" anchorCtr="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mj-lt"/>
                <a:ea typeface="+mn-ea"/>
                <a:cs typeface="+mn-cs"/>
              </a:rPr>
              <a:t>Get paid now</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1" u="none" strike="noStrike" kern="0" cap="none" spc="0" normalizeH="0" baseline="0" noProof="0" dirty="0">
              <a:ln>
                <a:noFill/>
              </a:ln>
              <a:solidFill>
                <a:prstClr val="black"/>
              </a:solidFill>
              <a:effectLst/>
              <a:uLnTx/>
              <a:uFillTx/>
              <a:latin typeface="+mj-lt"/>
              <a:ea typeface="+mn-ea"/>
              <a:cs typeface="+mn-cs"/>
            </a:endParaRPr>
          </a:p>
          <a:p>
            <a:pPr lvl="0" algn="ctr" defTabSz="457200"/>
            <a:r>
              <a:rPr lang="en-GB" kern="0" dirty="0">
                <a:solidFill>
                  <a:prstClr val="black"/>
                </a:solidFill>
                <a:latin typeface="+mj-lt"/>
              </a:rPr>
              <a:t>Your invoices are paid in full, even if client subscription hasn’t started</a:t>
            </a:r>
          </a:p>
        </p:txBody>
      </p:sp>
      <p:sp>
        <p:nvSpPr>
          <p:cNvPr id="131" name="Freeform 46">
            <a:extLst>
              <a:ext uri="{FF2B5EF4-FFF2-40B4-BE49-F238E27FC236}">
                <a16:creationId xmlns:a16="http://schemas.microsoft.com/office/drawing/2014/main" id="{34122004-15B6-40C1-82CE-0544B8217C5B}"/>
              </a:ext>
            </a:extLst>
          </p:cNvPr>
          <p:cNvSpPr>
            <a:spLocks noEditPoints="1"/>
          </p:cNvSpPr>
          <p:nvPr/>
        </p:nvSpPr>
        <p:spPr bwMode="auto">
          <a:xfrm>
            <a:off x="5876775" y="1824617"/>
            <a:ext cx="446496" cy="537493"/>
          </a:xfrm>
          <a:custGeom>
            <a:avLst/>
            <a:gdLst>
              <a:gd name="T0" fmla="*/ 11 w 211"/>
              <a:gd name="T1" fmla="*/ 140 h 190"/>
              <a:gd name="T2" fmla="*/ 0 w 211"/>
              <a:gd name="T3" fmla="*/ 21 h 190"/>
              <a:gd name="T4" fmla="*/ 190 w 211"/>
              <a:gd name="T5" fmla="*/ 103 h 190"/>
              <a:gd name="T6" fmla="*/ 127 w 211"/>
              <a:gd name="T7" fmla="*/ 189 h 190"/>
              <a:gd name="T8" fmla="*/ 124 w 211"/>
              <a:gd name="T9" fmla="*/ 166 h 190"/>
              <a:gd name="T10" fmla="*/ 102 w 211"/>
              <a:gd name="T11" fmla="*/ 185 h 190"/>
              <a:gd name="T12" fmla="*/ 129 w 211"/>
              <a:gd name="T13" fmla="*/ 183 h 190"/>
              <a:gd name="T14" fmla="*/ 69 w 211"/>
              <a:gd name="T15" fmla="*/ 165 h 190"/>
              <a:gd name="T16" fmla="*/ 148 w 211"/>
              <a:gd name="T17" fmla="*/ 163 h 190"/>
              <a:gd name="T18" fmla="*/ 52 w 211"/>
              <a:gd name="T19" fmla="*/ 161 h 190"/>
              <a:gd name="T20" fmla="*/ 52 w 211"/>
              <a:gd name="T21" fmla="*/ 161 h 190"/>
              <a:gd name="T22" fmla="*/ 177 w 211"/>
              <a:gd name="T23" fmla="*/ 158 h 190"/>
              <a:gd name="T24" fmla="*/ 45 w 211"/>
              <a:gd name="T25" fmla="*/ 160 h 190"/>
              <a:gd name="T26" fmla="*/ 27 w 211"/>
              <a:gd name="T27" fmla="*/ 155 h 190"/>
              <a:gd name="T28" fmla="*/ 195 w 211"/>
              <a:gd name="T29" fmla="*/ 152 h 190"/>
              <a:gd name="T30" fmla="*/ 118 w 211"/>
              <a:gd name="T31" fmla="*/ 160 h 190"/>
              <a:gd name="T32" fmla="*/ 155 w 211"/>
              <a:gd name="T33" fmla="*/ 145 h 190"/>
              <a:gd name="T34" fmla="*/ 16 w 211"/>
              <a:gd name="T35" fmla="*/ 141 h 190"/>
              <a:gd name="T36" fmla="*/ 113 w 211"/>
              <a:gd name="T37" fmla="*/ 146 h 190"/>
              <a:gd name="T38" fmla="*/ 89 w 211"/>
              <a:gd name="T39" fmla="*/ 146 h 190"/>
              <a:gd name="T40" fmla="*/ 59 w 211"/>
              <a:gd name="T41" fmla="*/ 144 h 190"/>
              <a:gd name="T42" fmla="*/ 118 w 211"/>
              <a:gd name="T43" fmla="*/ 126 h 190"/>
              <a:gd name="T44" fmla="*/ 41 w 211"/>
              <a:gd name="T45" fmla="*/ 122 h 190"/>
              <a:gd name="T46" fmla="*/ 41 w 211"/>
              <a:gd name="T47" fmla="*/ 122 h 190"/>
              <a:gd name="T48" fmla="*/ 148 w 211"/>
              <a:gd name="T49" fmla="*/ 122 h 190"/>
              <a:gd name="T50" fmla="*/ 167 w 211"/>
              <a:gd name="T51" fmla="*/ 119 h 190"/>
              <a:gd name="T52" fmla="*/ 35 w 211"/>
              <a:gd name="T53" fmla="*/ 140 h 190"/>
              <a:gd name="T54" fmla="*/ 6 w 211"/>
              <a:gd name="T55" fmla="*/ 111 h 190"/>
              <a:gd name="T56" fmla="*/ 172 w 211"/>
              <a:gd name="T57" fmla="*/ 134 h 190"/>
              <a:gd name="T58" fmla="*/ 5 w 211"/>
              <a:gd name="T59" fmla="*/ 103 h 190"/>
              <a:gd name="T60" fmla="*/ 179 w 211"/>
              <a:gd name="T61" fmla="*/ 106 h 190"/>
              <a:gd name="T62" fmla="*/ 23 w 211"/>
              <a:gd name="T63" fmla="*/ 93 h 190"/>
              <a:gd name="T64" fmla="*/ 109 w 211"/>
              <a:gd name="T65" fmla="*/ 87 h 190"/>
              <a:gd name="T66" fmla="*/ 135 w 211"/>
              <a:gd name="T67" fmla="*/ 105 h 190"/>
              <a:gd name="T68" fmla="*/ 91 w 211"/>
              <a:gd name="T69" fmla="*/ 106 h 190"/>
              <a:gd name="T70" fmla="*/ 141 w 211"/>
              <a:gd name="T71" fmla="*/ 106 h 190"/>
              <a:gd name="T72" fmla="*/ 62 w 211"/>
              <a:gd name="T73" fmla="*/ 103 h 190"/>
              <a:gd name="T74" fmla="*/ 159 w 211"/>
              <a:gd name="T75" fmla="*/ 84 h 190"/>
              <a:gd name="T76" fmla="*/ 169 w 211"/>
              <a:gd name="T77" fmla="*/ 83 h 190"/>
              <a:gd name="T78" fmla="*/ 188 w 211"/>
              <a:gd name="T79" fmla="*/ 99 h 190"/>
              <a:gd name="T80" fmla="*/ 56 w 211"/>
              <a:gd name="T81" fmla="*/ 101 h 190"/>
              <a:gd name="T82" fmla="*/ 194 w 211"/>
              <a:gd name="T83" fmla="*/ 96 h 190"/>
              <a:gd name="T84" fmla="*/ 26 w 211"/>
              <a:gd name="T85" fmla="*/ 89 h 190"/>
              <a:gd name="T86" fmla="*/ 26 w 211"/>
              <a:gd name="T87" fmla="*/ 63 h 190"/>
              <a:gd name="T88" fmla="*/ 184 w 211"/>
              <a:gd name="T89" fmla="*/ 53 h 190"/>
              <a:gd name="T90" fmla="*/ 87 w 211"/>
              <a:gd name="T91" fmla="*/ 69 h 190"/>
              <a:gd name="T92" fmla="*/ 77 w 211"/>
              <a:gd name="T93" fmla="*/ 64 h 190"/>
              <a:gd name="T94" fmla="*/ 102 w 211"/>
              <a:gd name="T95" fmla="*/ 44 h 190"/>
              <a:gd name="T96" fmla="*/ 113 w 211"/>
              <a:gd name="T97" fmla="*/ 44 h 190"/>
              <a:gd name="T98" fmla="*/ 131 w 211"/>
              <a:gd name="T99" fmla="*/ 44 h 190"/>
              <a:gd name="T100" fmla="*/ 71 w 211"/>
              <a:gd name="T101" fmla="*/ 62 h 190"/>
              <a:gd name="T102" fmla="*/ 148 w 211"/>
              <a:gd name="T103" fmla="*/ 60 h 190"/>
              <a:gd name="T104" fmla="*/ 48 w 211"/>
              <a:gd name="T105" fmla="*/ 61 h 190"/>
              <a:gd name="T106" fmla="*/ 22 w 211"/>
              <a:gd name="T107" fmla="*/ 55 h 190"/>
              <a:gd name="T108" fmla="*/ 166 w 211"/>
              <a:gd name="T109" fmla="*/ 36 h 190"/>
              <a:gd name="T110" fmla="*/ 166 w 211"/>
              <a:gd name="T111" fmla="*/ 36 h 190"/>
              <a:gd name="T112" fmla="*/ 6 w 211"/>
              <a:gd name="T113" fmla="*/ 29 h 190"/>
              <a:gd name="T114" fmla="*/ 185 w 211"/>
              <a:gd name="T115" fmla="*/ 45 h 190"/>
              <a:gd name="T116" fmla="*/ 107 w 211"/>
              <a:gd name="T117" fmla="*/ 3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1" h="190">
                <a:moveTo>
                  <a:pt x="105" y="190"/>
                </a:moveTo>
                <a:cubicBezTo>
                  <a:pt x="99" y="190"/>
                  <a:pt x="92" y="190"/>
                  <a:pt x="84" y="189"/>
                </a:cubicBezTo>
                <a:cubicBezTo>
                  <a:pt x="84" y="189"/>
                  <a:pt x="84" y="189"/>
                  <a:pt x="84" y="189"/>
                </a:cubicBezTo>
                <a:cubicBezTo>
                  <a:pt x="84" y="189"/>
                  <a:pt x="84" y="189"/>
                  <a:pt x="84" y="189"/>
                </a:cubicBezTo>
                <a:cubicBezTo>
                  <a:pt x="78" y="189"/>
                  <a:pt x="72" y="188"/>
                  <a:pt x="67" y="188"/>
                </a:cubicBezTo>
                <a:cubicBezTo>
                  <a:pt x="66" y="188"/>
                  <a:pt x="66" y="188"/>
                  <a:pt x="66" y="188"/>
                </a:cubicBezTo>
                <a:cubicBezTo>
                  <a:pt x="66" y="188"/>
                  <a:pt x="66" y="188"/>
                  <a:pt x="66" y="188"/>
                </a:cubicBezTo>
                <a:cubicBezTo>
                  <a:pt x="66" y="188"/>
                  <a:pt x="66" y="188"/>
                  <a:pt x="66" y="188"/>
                </a:cubicBezTo>
                <a:cubicBezTo>
                  <a:pt x="31" y="184"/>
                  <a:pt x="10" y="176"/>
                  <a:pt x="10" y="166"/>
                </a:cubicBezTo>
                <a:cubicBezTo>
                  <a:pt x="10" y="142"/>
                  <a:pt x="10" y="142"/>
                  <a:pt x="10" y="142"/>
                </a:cubicBezTo>
                <a:cubicBezTo>
                  <a:pt x="10" y="142"/>
                  <a:pt x="10" y="141"/>
                  <a:pt x="10" y="141"/>
                </a:cubicBezTo>
                <a:cubicBezTo>
                  <a:pt x="10" y="141"/>
                  <a:pt x="11" y="140"/>
                  <a:pt x="11" y="140"/>
                </a:cubicBezTo>
                <a:cubicBezTo>
                  <a:pt x="11" y="139"/>
                  <a:pt x="11" y="138"/>
                  <a:pt x="10" y="138"/>
                </a:cubicBezTo>
                <a:cubicBezTo>
                  <a:pt x="3" y="135"/>
                  <a:pt x="0" y="131"/>
                  <a:pt x="0" y="127"/>
                </a:cubicBezTo>
                <a:cubicBezTo>
                  <a:pt x="0" y="102"/>
                  <a:pt x="0" y="102"/>
                  <a:pt x="0" y="102"/>
                </a:cubicBezTo>
                <a:cubicBezTo>
                  <a:pt x="0" y="102"/>
                  <a:pt x="0" y="102"/>
                  <a:pt x="0" y="102"/>
                </a:cubicBezTo>
                <a:cubicBezTo>
                  <a:pt x="0" y="97"/>
                  <a:pt x="7" y="92"/>
                  <a:pt x="20" y="89"/>
                </a:cubicBezTo>
                <a:cubicBezTo>
                  <a:pt x="21" y="89"/>
                  <a:pt x="21" y="88"/>
                  <a:pt x="21" y="88"/>
                </a:cubicBezTo>
                <a:cubicBezTo>
                  <a:pt x="21" y="63"/>
                  <a:pt x="21" y="63"/>
                  <a:pt x="21" y="63"/>
                </a:cubicBezTo>
                <a:cubicBezTo>
                  <a:pt x="21" y="63"/>
                  <a:pt x="21" y="63"/>
                  <a:pt x="21" y="63"/>
                </a:cubicBezTo>
                <a:cubicBezTo>
                  <a:pt x="21" y="63"/>
                  <a:pt x="21" y="62"/>
                  <a:pt x="21" y="61"/>
                </a:cubicBezTo>
                <a:cubicBezTo>
                  <a:pt x="21" y="61"/>
                  <a:pt x="21" y="60"/>
                  <a:pt x="21" y="60"/>
                </a:cubicBezTo>
                <a:cubicBezTo>
                  <a:pt x="7" y="56"/>
                  <a:pt x="0" y="51"/>
                  <a:pt x="0" y="45"/>
                </a:cubicBezTo>
                <a:cubicBezTo>
                  <a:pt x="0" y="21"/>
                  <a:pt x="0" y="21"/>
                  <a:pt x="0" y="21"/>
                </a:cubicBezTo>
                <a:cubicBezTo>
                  <a:pt x="0" y="21"/>
                  <a:pt x="0" y="20"/>
                  <a:pt x="0" y="20"/>
                </a:cubicBezTo>
                <a:cubicBezTo>
                  <a:pt x="1" y="4"/>
                  <a:pt x="60" y="0"/>
                  <a:pt x="95" y="0"/>
                </a:cubicBezTo>
                <a:cubicBezTo>
                  <a:pt x="129" y="0"/>
                  <a:pt x="189" y="4"/>
                  <a:pt x="190" y="20"/>
                </a:cubicBezTo>
                <a:cubicBezTo>
                  <a:pt x="190" y="20"/>
                  <a:pt x="190" y="21"/>
                  <a:pt x="190" y="21"/>
                </a:cubicBezTo>
                <a:cubicBezTo>
                  <a:pt x="190" y="45"/>
                  <a:pt x="190" y="45"/>
                  <a:pt x="190" y="45"/>
                </a:cubicBezTo>
                <a:cubicBezTo>
                  <a:pt x="190" y="46"/>
                  <a:pt x="189" y="47"/>
                  <a:pt x="189" y="48"/>
                </a:cubicBezTo>
                <a:cubicBezTo>
                  <a:pt x="189" y="48"/>
                  <a:pt x="189" y="49"/>
                  <a:pt x="189" y="49"/>
                </a:cubicBezTo>
                <a:cubicBezTo>
                  <a:pt x="189" y="49"/>
                  <a:pt x="189" y="50"/>
                  <a:pt x="190" y="50"/>
                </a:cubicBezTo>
                <a:cubicBezTo>
                  <a:pt x="204" y="53"/>
                  <a:pt x="211" y="58"/>
                  <a:pt x="211" y="63"/>
                </a:cubicBezTo>
                <a:cubicBezTo>
                  <a:pt x="211" y="63"/>
                  <a:pt x="211" y="63"/>
                  <a:pt x="211" y="63"/>
                </a:cubicBezTo>
                <a:cubicBezTo>
                  <a:pt x="211" y="88"/>
                  <a:pt x="211" y="88"/>
                  <a:pt x="211" y="88"/>
                </a:cubicBezTo>
                <a:cubicBezTo>
                  <a:pt x="211" y="93"/>
                  <a:pt x="204" y="99"/>
                  <a:pt x="190" y="103"/>
                </a:cubicBezTo>
                <a:cubicBezTo>
                  <a:pt x="190" y="103"/>
                  <a:pt x="190" y="103"/>
                  <a:pt x="190" y="104"/>
                </a:cubicBezTo>
                <a:cubicBezTo>
                  <a:pt x="190" y="127"/>
                  <a:pt x="190" y="127"/>
                  <a:pt x="190" y="127"/>
                </a:cubicBezTo>
                <a:cubicBezTo>
                  <a:pt x="190" y="128"/>
                  <a:pt x="189" y="129"/>
                  <a:pt x="189" y="130"/>
                </a:cubicBezTo>
                <a:cubicBezTo>
                  <a:pt x="189" y="130"/>
                  <a:pt x="189" y="130"/>
                  <a:pt x="189" y="131"/>
                </a:cubicBezTo>
                <a:cubicBezTo>
                  <a:pt x="189" y="131"/>
                  <a:pt x="189" y="131"/>
                  <a:pt x="190" y="131"/>
                </a:cubicBezTo>
                <a:cubicBezTo>
                  <a:pt x="197" y="134"/>
                  <a:pt x="200" y="137"/>
                  <a:pt x="200" y="141"/>
                </a:cubicBezTo>
                <a:cubicBezTo>
                  <a:pt x="200" y="142"/>
                  <a:pt x="200" y="142"/>
                  <a:pt x="200" y="142"/>
                </a:cubicBezTo>
                <a:cubicBezTo>
                  <a:pt x="200" y="166"/>
                  <a:pt x="200" y="166"/>
                  <a:pt x="200" y="166"/>
                </a:cubicBezTo>
                <a:cubicBezTo>
                  <a:pt x="200" y="176"/>
                  <a:pt x="180" y="184"/>
                  <a:pt x="145" y="188"/>
                </a:cubicBezTo>
                <a:cubicBezTo>
                  <a:pt x="145" y="188"/>
                  <a:pt x="145" y="188"/>
                  <a:pt x="145" y="188"/>
                </a:cubicBezTo>
                <a:cubicBezTo>
                  <a:pt x="145" y="188"/>
                  <a:pt x="144" y="188"/>
                  <a:pt x="144" y="188"/>
                </a:cubicBezTo>
                <a:cubicBezTo>
                  <a:pt x="139" y="188"/>
                  <a:pt x="133" y="189"/>
                  <a:pt x="127" y="189"/>
                </a:cubicBezTo>
                <a:cubicBezTo>
                  <a:pt x="127" y="189"/>
                  <a:pt x="127" y="189"/>
                  <a:pt x="127" y="189"/>
                </a:cubicBezTo>
                <a:cubicBezTo>
                  <a:pt x="127" y="189"/>
                  <a:pt x="127" y="189"/>
                  <a:pt x="127" y="189"/>
                </a:cubicBezTo>
                <a:cubicBezTo>
                  <a:pt x="119" y="190"/>
                  <a:pt x="112" y="190"/>
                  <a:pt x="105" y="190"/>
                </a:cubicBezTo>
                <a:close/>
                <a:moveTo>
                  <a:pt x="109" y="165"/>
                </a:moveTo>
                <a:cubicBezTo>
                  <a:pt x="108" y="165"/>
                  <a:pt x="108" y="166"/>
                  <a:pt x="108" y="166"/>
                </a:cubicBezTo>
                <a:cubicBezTo>
                  <a:pt x="108" y="184"/>
                  <a:pt x="108" y="184"/>
                  <a:pt x="108" y="184"/>
                </a:cubicBezTo>
                <a:cubicBezTo>
                  <a:pt x="108" y="184"/>
                  <a:pt x="108" y="185"/>
                  <a:pt x="108" y="185"/>
                </a:cubicBezTo>
                <a:cubicBezTo>
                  <a:pt x="108" y="185"/>
                  <a:pt x="109" y="185"/>
                  <a:pt x="109" y="185"/>
                </a:cubicBezTo>
                <a:cubicBezTo>
                  <a:pt x="109" y="185"/>
                  <a:pt x="109" y="185"/>
                  <a:pt x="109" y="185"/>
                </a:cubicBezTo>
                <a:cubicBezTo>
                  <a:pt x="114" y="185"/>
                  <a:pt x="118" y="185"/>
                  <a:pt x="123" y="185"/>
                </a:cubicBezTo>
                <a:cubicBezTo>
                  <a:pt x="124" y="185"/>
                  <a:pt x="124" y="184"/>
                  <a:pt x="124" y="184"/>
                </a:cubicBezTo>
                <a:cubicBezTo>
                  <a:pt x="124" y="166"/>
                  <a:pt x="124" y="166"/>
                  <a:pt x="124" y="166"/>
                </a:cubicBezTo>
                <a:cubicBezTo>
                  <a:pt x="124" y="166"/>
                  <a:pt x="124" y="165"/>
                  <a:pt x="124" y="165"/>
                </a:cubicBezTo>
                <a:cubicBezTo>
                  <a:pt x="124" y="165"/>
                  <a:pt x="123" y="165"/>
                  <a:pt x="123" y="165"/>
                </a:cubicBezTo>
                <a:cubicBezTo>
                  <a:pt x="123" y="165"/>
                  <a:pt x="123" y="165"/>
                  <a:pt x="123" y="165"/>
                </a:cubicBezTo>
                <a:cubicBezTo>
                  <a:pt x="120" y="165"/>
                  <a:pt x="116" y="165"/>
                  <a:pt x="112" y="165"/>
                </a:cubicBezTo>
                <a:cubicBezTo>
                  <a:pt x="112" y="165"/>
                  <a:pt x="112" y="165"/>
                  <a:pt x="112" y="165"/>
                </a:cubicBezTo>
                <a:cubicBezTo>
                  <a:pt x="112" y="165"/>
                  <a:pt x="109" y="165"/>
                  <a:pt x="109" y="165"/>
                </a:cubicBezTo>
                <a:close/>
                <a:moveTo>
                  <a:pt x="88" y="165"/>
                </a:moveTo>
                <a:cubicBezTo>
                  <a:pt x="87" y="165"/>
                  <a:pt x="87" y="165"/>
                  <a:pt x="87" y="165"/>
                </a:cubicBezTo>
                <a:cubicBezTo>
                  <a:pt x="87" y="165"/>
                  <a:pt x="86" y="166"/>
                  <a:pt x="86" y="166"/>
                </a:cubicBezTo>
                <a:cubicBezTo>
                  <a:pt x="86" y="184"/>
                  <a:pt x="86" y="184"/>
                  <a:pt x="86" y="184"/>
                </a:cubicBezTo>
                <a:cubicBezTo>
                  <a:pt x="86" y="184"/>
                  <a:pt x="87" y="185"/>
                  <a:pt x="88" y="185"/>
                </a:cubicBezTo>
                <a:cubicBezTo>
                  <a:pt x="92" y="185"/>
                  <a:pt x="97" y="185"/>
                  <a:pt x="102" y="185"/>
                </a:cubicBezTo>
                <a:cubicBezTo>
                  <a:pt x="102" y="185"/>
                  <a:pt x="102" y="185"/>
                  <a:pt x="102" y="185"/>
                </a:cubicBezTo>
                <a:cubicBezTo>
                  <a:pt x="102" y="185"/>
                  <a:pt x="102" y="185"/>
                  <a:pt x="103" y="185"/>
                </a:cubicBezTo>
                <a:cubicBezTo>
                  <a:pt x="103" y="185"/>
                  <a:pt x="103" y="184"/>
                  <a:pt x="103" y="184"/>
                </a:cubicBezTo>
                <a:cubicBezTo>
                  <a:pt x="103" y="166"/>
                  <a:pt x="103" y="166"/>
                  <a:pt x="103" y="166"/>
                </a:cubicBezTo>
                <a:cubicBezTo>
                  <a:pt x="103" y="166"/>
                  <a:pt x="102" y="165"/>
                  <a:pt x="102" y="165"/>
                </a:cubicBezTo>
                <a:cubicBezTo>
                  <a:pt x="98" y="165"/>
                  <a:pt x="98" y="165"/>
                  <a:pt x="98" y="165"/>
                </a:cubicBezTo>
                <a:cubicBezTo>
                  <a:pt x="95" y="165"/>
                  <a:pt x="91" y="165"/>
                  <a:pt x="88" y="165"/>
                </a:cubicBezTo>
                <a:cubicBezTo>
                  <a:pt x="88" y="165"/>
                  <a:pt x="88" y="165"/>
                  <a:pt x="88" y="165"/>
                </a:cubicBezTo>
                <a:close/>
                <a:moveTo>
                  <a:pt x="141" y="163"/>
                </a:moveTo>
                <a:cubicBezTo>
                  <a:pt x="137" y="164"/>
                  <a:pt x="134" y="164"/>
                  <a:pt x="130" y="164"/>
                </a:cubicBezTo>
                <a:cubicBezTo>
                  <a:pt x="130" y="164"/>
                  <a:pt x="129" y="165"/>
                  <a:pt x="129" y="165"/>
                </a:cubicBezTo>
                <a:cubicBezTo>
                  <a:pt x="129" y="183"/>
                  <a:pt x="129" y="183"/>
                  <a:pt x="129" y="183"/>
                </a:cubicBezTo>
                <a:cubicBezTo>
                  <a:pt x="129" y="184"/>
                  <a:pt x="129" y="184"/>
                  <a:pt x="130" y="184"/>
                </a:cubicBezTo>
                <a:cubicBezTo>
                  <a:pt x="130" y="184"/>
                  <a:pt x="130" y="184"/>
                  <a:pt x="130" y="184"/>
                </a:cubicBezTo>
                <a:cubicBezTo>
                  <a:pt x="130" y="184"/>
                  <a:pt x="130" y="184"/>
                  <a:pt x="130" y="184"/>
                </a:cubicBezTo>
                <a:cubicBezTo>
                  <a:pt x="134" y="184"/>
                  <a:pt x="138" y="184"/>
                  <a:pt x="141" y="183"/>
                </a:cubicBezTo>
                <a:cubicBezTo>
                  <a:pt x="142" y="183"/>
                  <a:pt x="142" y="183"/>
                  <a:pt x="142" y="182"/>
                </a:cubicBezTo>
                <a:cubicBezTo>
                  <a:pt x="142" y="165"/>
                  <a:pt x="142" y="165"/>
                  <a:pt x="142" y="165"/>
                </a:cubicBezTo>
                <a:cubicBezTo>
                  <a:pt x="142" y="164"/>
                  <a:pt x="142" y="164"/>
                  <a:pt x="142" y="164"/>
                </a:cubicBezTo>
                <a:cubicBezTo>
                  <a:pt x="142" y="164"/>
                  <a:pt x="141" y="163"/>
                  <a:pt x="141" y="163"/>
                </a:cubicBezTo>
                <a:cubicBezTo>
                  <a:pt x="141" y="163"/>
                  <a:pt x="141" y="163"/>
                  <a:pt x="141" y="163"/>
                </a:cubicBezTo>
                <a:close/>
                <a:moveTo>
                  <a:pt x="70" y="163"/>
                </a:moveTo>
                <a:cubicBezTo>
                  <a:pt x="69" y="163"/>
                  <a:pt x="69" y="164"/>
                  <a:pt x="69" y="164"/>
                </a:cubicBezTo>
                <a:cubicBezTo>
                  <a:pt x="69" y="164"/>
                  <a:pt x="69" y="164"/>
                  <a:pt x="69" y="165"/>
                </a:cubicBezTo>
                <a:cubicBezTo>
                  <a:pt x="69" y="182"/>
                  <a:pt x="69" y="182"/>
                  <a:pt x="69" y="182"/>
                </a:cubicBezTo>
                <a:cubicBezTo>
                  <a:pt x="69" y="183"/>
                  <a:pt x="69" y="183"/>
                  <a:pt x="70" y="183"/>
                </a:cubicBezTo>
                <a:cubicBezTo>
                  <a:pt x="73" y="184"/>
                  <a:pt x="77" y="184"/>
                  <a:pt x="80" y="184"/>
                </a:cubicBezTo>
                <a:cubicBezTo>
                  <a:pt x="80" y="184"/>
                  <a:pt x="80" y="184"/>
                  <a:pt x="80" y="184"/>
                </a:cubicBezTo>
                <a:cubicBezTo>
                  <a:pt x="81" y="184"/>
                  <a:pt x="81" y="184"/>
                  <a:pt x="81" y="184"/>
                </a:cubicBezTo>
                <a:cubicBezTo>
                  <a:pt x="81" y="184"/>
                  <a:pt x="82" y="184"/>
                  <a:pt x="82" y="183"/>
                </a:cubicBezTo>
                <a:cubicBezTo>
                  <a:pt x="82" y="165"/>
                  <a:pt x="82" y="165"/>
                  <a:pt x="82" y="165"/>
                </a:cubicBezTo>
                <a:cubicBezTo>
                  <a:pt x="82" y="165"/>
                  <a:pt x="81" y="164"/>
                  <a:pt x="81" y="164"/>
                </a:cubicBezTo>
                <a:cubicBezTo>
                  <a:pt x="77" y="164"/>
                  <a:pt x="73" y="164"/>
                  <a:pt x="70" y="163"/>
                </a:cubicBezTo>
                <a:cubicBezTo>
                  <a:pt x="70" y="163"/>
                  <a:pt x="70" y="163"/>
                  <a:pt x="70" y="163"/>
                </a:cubicBezTo>
                <a:close/>
                <a:moveTo>
                  <a:pt x="159" y="161"/>
                </a:moveTo>
                <a:cubicBezTo>
                  <a:pt x="155" y="162"/>
                  <a:pt x="152" y="162"/>
                  <a:pt x="148" y="163"/>
                </a:cubicBezTo>
                <a:cubicBezTo>
                  <a:pt x="147" y="163"/>
                  <a:pt x="147" y="163"/>
                  <a:pt x="147" y="164"/>
                </a:cubicBezTo>
                <a:cubicBezTo>
                  <a:pt x="147" y="181"/>
                  <a:pt x="147" y="181"/>
                  <a:pt x="147" y="181"/>
                </a:cubicBezTo>
                <a:cubicBezTo>
                  <a:pt x="147" y="182"/>
                  <a:pt x="147" y="182"/>
                  <a:pt x="147" y="182"/>
                </a:cubicBezTo>
                <a:cubicBezTo>
                  <a:pt x="148" y="182"/>
                  <a:pt x="148" y="183"/>
                  <a:pt x="148" y="183"/>
                </a:cubicBezTo>
                <a:cubicBezTo>
                  <a:pt x="148" y="183"/>
                  <a:pt x="148" y="183"/>
                  <a:pt x="148" y="183"/>
                </a:cubicBezTo>
                <a:cubicBezTo>
                  <a:pt x="152" y="182"/>
                  <a:pt x="156" y="181"/>
                  <a:pt x="159" y="181"/>
                </a:cubicBezTo>
                <a:cubicBezTo>
                  <a:pt x="159" y="181"/>
                  <a:pt x="160" y="180"/>
                  <a:pt x="160" y="180"/>
                </a:cubicBezTo>
                <a:cubicBezTo>
                  <a:pt x="160" y="162"/>
                  <a:pt x="160" y="162"/>
                  <a:pt x="160" y="162"/>
                </a:cubicBezTo>
                <a:cubicBezTo>
                  <a:pt x="160" y="162"/>
                  <a:pt x="160" y="162"/>
                  <a:pt x="159" y="161"/>
                </a:cubicBezTo>
                <a:cubicBezTo>
                  <a:pt x="159" y="161"/>
                  <a:pt x="159" y="161"/>
                  <a:pt x="159" y="161"/>
                </a:cubicBezTo>
                <a:cubicBezTo>
                  <a:pt x="159" y="161"/>
                  <a:pt x="159" y="161"/>
                  <a:pt x="159" y="161"/>
                </a:cubicBezTo>
                <a:close/>
                <a:moveTo>
                  <a:pt x="52" y="161"/>
                </a:moveTo>
                <a:cubicBezTo>
                  <a:pt x="52" y="161"/>
                  <a:pt x="51" y="161"/>
                  <a:pt x="51" y="161"/>
                </a:cubicBezTo>
                <a:cubicBezTo>
                  <a:pt x="51" y="162"/>
                  <a:pt x="51" y="162"/>
                  <a:pt x="51" y="162"/>
                </a:cubicBezTo>
                <a:cubicBezTo>
                  <a:pt x="51" y="180"/>
                  <a:pt x="51" y="180"/>
                  <a:pt x="51" y="180"/>
                </a:cubicBezTo>
                <a:cubicBezTo>
                  <a:pt x="51" y="180"/>
                  <a:pt x="51" y="181"/>
                  <a:pt x="52" y="181"/>
                </a:cubicBezTo>
                <a:cubicBezTo>
                  <a:pt x="55" y="181"/>
                  <a:pt x="59" y="182"/>
                  <a:pt x="62" y="183"/>
                </a:cubicBezTo>
                <a:cubicBezTo>
                  <a:pt x="63" y="183"/>
                  <a:pt x="63" y="183"/>
                  <a:pt x="63" y="183"/>
                </a:cubicBezTo>
                <a:cubicBezTo>
                  <a:pt x="63" y="183"/>
                  <a:pt x="63" y="182"/>
                  <a:pt x="63" y="182"/>
                </a:cubicBezTo>
                <a:cubicBezTo>
                  <a:pt x="64" y="182"/>
                  <a:pt x="64" y="182"/>
                  <a:pt x="64" y="181"/>
                </a:cubicBezTo>
                <a:cubicBezTo>
                  <a:pt x="64" y="164"/>
                  <a:pt x="64" y="164"/>
                  <a:pt x="64" y="164"/>
                </a:cubicBezTo>
                <a:cubicBezTo>
                  <a:pt x="64" y="163"/>
                  <a:pt x="63" y="163"/>
                  <a:pt x="63" y="163"/>
                </a:cubicBezTo>
                <a:cubicBezTo>
                  <a:pt x="59" y="162"/>
                  <a:pt x="56" y="162"/>
                  <a:pt x="52" y="161"/>
                </a:cubicBezTo>
                <a:cubicBezTo>
                  <a:pt x="52" y="161"/>
                  <a:pt x="52" y="161"/>
                  <a:pt x="52" y="161"/>
                </a:cubicBezTo>
                <a:close/>
                <a:moveTo>
                  <a:pt x="177" y="157"/>
                </a:moveTo>
                <a:cubicBezTo>
                  <a:pt x="176" y="157"/>
                  <a:pt x="176" y="157"/>
                  <a:pt x="176" y="158"/>
                </a:cubicBezTo>
                <a:cubicBezTo>
                  <a:pt x="173" y="158"/>
                  <a:pt x="170" y="159"/>
                  <a:pt x="166" y="160"/>
                </a:cubicBezTo>
                <a:cubicBezTo>
                  <a:pt x="165" y="160"/>
                  <a:pt x="165" y="161"/>
                  <a:pt x="165" y="161"/>
                </a:cubicBezTo>
                <a:cubicBezTo>
                  <a:pt x="165" y="178"/>
                  <a:pt x="165" y="178"/>
                  <a:pt x="165" y="178"/>
                </a:cubicBezTo>
                <a:cubicBezTo>
                  <a:pt x="165" y="179"/>
                  <a:pt x="165" y="179"/>
                  <a:pt x="165" y="179"/>
                </a:cubicBezTo>
                <a:cubicBezTo>
                  <a:pt x="165" y="179"/>
                  <a:pt x="166" y="180"/>
                  <a:pt x="166" y="180"/>
                </a:cubicBezTo>
                <a:cubicBezTo>
                  <a:pt x="166" y="180"/>
                  <a:pt x="166" y="180"/>
                  <a:pt x="166" y="179"/>
                </a:cubicBezTo>
                <a:cubicBezTo>
                  <a:pt x="170" y="179"/>
                  <a:pt x="174" y="178"/>
                  <a:pt x="177" y="177"/>
                </a:cubicBezTo>
                <a:cubicBezTo>
                  <a:pt x="177" y="177"/>
                  <a:pt x="178" y="176"/>
                  <a:pt x="178" y="176"/>
                </a:cubicBezTo>
                <a:cubicBezTo>
                  <a:pt x="178" y="159"/>
                  <a:pt x="178" y="159"/>
                  <a:pt x="178" y="159"/>
                </a:cubicBezTo>
                <a:cubicBezTo>
                  <a:pt x="178" y="158"/>
                  <a:pt x="178" y="158"/>
                  <a:pt x="177" y="158"/>
                </a:cubicBezTo>
                <a:cubicBezTo>
                  <a:pt x="177" y="158"/>
                  <a:pt x="177" y="157"/>
                  <a:pt x="177" y="157"/>
                </a:cubicBezTo>
                <a:close/>
                <a:moveTo>
                  <a:pt x="34" y="157"/>
                </a:moveTo>
                <a:cubicBezTo>
                  <a:pt x="34" y="157"/>
                  <a:pt x="34" y="158"/>
                  <a:pt x="33" y="158"/>
                </a:cubicBezTo>
                <a:cubicBezTo>
                  <a:pt x="33" y="158"/>
                  <a:pt x="33" y="158"/>
                  <a:pt x="33" y="159"/>
                </a:cubicBezTo>
                <a:cubicBezTo>
                  <a:pt x="33" y="176"/>
                  <a:pt x="33" y="176"/>
                  <a:pt x="33" y="176"/>
                </a:cubicBezTo>
                <a:cubicBezTo>
                  <a:pt x="33" y="176"/>
                  <a:pt x="33" y="177"/>
                  <a:pt x="34" y="177"/>
                </a:cubicBezTo>
                <a:cubicBezTo>
                  <a:pt x="37" y="178"/>
                  <a:pt x="41" y="179"/>
                  <a:pt x="45" y="179"/>
                </a:cubicBezTo>
                <a:cubicBezTo>
                  <a:pt x="45" y="180"/>
                  <a:pt x="45" y="180"/>
                  <a:pt x="45" y="180"/>
                </a:cubicBezTo>
                <a:cubicBezTo>
                  <a:pt x="45" y="180"/>
                  <a:pt x="45" y="179"/>
                  <a:pt x="46" y="179"/>
                </a:cubicBezTo>
                <a:cubicBezTo>
                  <a:pt x="46" y="179"/>
                  <a:pt x="46" y="179"/>
                  <a:pt x="46" y="178"/>
                </a:cubicBezTo>
                <a:cubicBezTo>
                  <a:pt x="46" y="161"/>
                  <a:pt x="46" y="161"/>
                  <a:pt x="46" y="161"/>
                </a:cubicBezTo>
                <a:cubicBezTo>
                  <a:pt x="46" y="161"/>
                  <a:pt x="46" y="160"/>
                  <a:pt x="45" y="160"/>
                </a:cubicBezTo>
                <a:cubicBezTo>
                  <a:pt x="41" y="159"/>
                  <a:pt x="38" y="158"/>
                  <a:pt x="34" y="158"/>
                </a:cubicBezTo>
                <a:cubicBezTo>
                  <a:pt x="34" y="157"/>
                  <a:pt x="34" y="157"/>
                  <a:pt x="34" y="157"/>
                </a:cubicBezTo>
                <a:close/>
                <a:moveTo>
                  <a:pt x="16" y="150"/>
                </a:moveTo>
                <a:cubicBezTo>
                  <a:pt x="16" y="150"/>
                  <a:pt x="16" y="150"/>
                  <a:pt x="16" y="151"/>
                </a:cubicBezTo>
                <a:cubicBezTo>
                  <a:pt x="15" y="151"/>
                  <a:pt x="15" y="151"/>
                  <a:pt x="15" y="152"/>
                </a:cubicBezTo>
                <a:cubicBezTo>
                  <a:pt x="15" y="166"/>
                  <a:pt x="15" y="166"/>
                  <a:pt x="15" y="166"/>
                </a:cubicBezTo>
                <a:cubicBezTo>
                  <a:pt x="15" y="169"/>
                  <a:pt x="19" y="172"/>
                  <a:pt x="27" y="174"/>
                </a:cubicBezTo>
                <a:cubicBezTo>
                  <a:pt x="27" y="175"/>
                  <a:pt x="27" y="175"/>
                  <a:pt x="27" y="175"/>
                </a:cubicBezTo>
                <a:cubicBezTo>
                  <a:pt x="27" y="175"/>
                  <a:pt x="27" y="174"/>
                  <a:pt x="28" y="174"/>
                </a:cubicBezTo>
                <a:cubicBezTo>
                  <a:pt x="28" y="174"/>
                  <a:pt x="28" y="174"/>
                  <a:pt x="28" y="173"/>
                </a:cubicBezTo>
                <a:cubicBezTo>
                  <a:pt x="28" y="156"/>
                  <a:pt x="28" y="156"/>
                  <a:pt x="28" y="156"/>
                </a:cubicBezTo>
                <a:cubicBezTo>
                  <a:pt x="28" y="156"/>
                  <a:pt x="28" y="156"/>
                  <a:pt x="27" y="155"/>
                </a:cubicBezTo>
                <a:cubicBezTo>
                  <a:pt x="23" y="154"/>
                  <a:pt x="20" y="152"/>
                  <a:pt x="17" y="151"/>
                </a:cubicBezTo>
                <a:cubicBezTo>
                  <a:pt x="17" y="150"/>
                  <a:pt x="17" y="150"/>
                  <a:pt x="16" y="150"/>
                </a:cubicBezTo>
                <a:close/>
                <a:moveTo>
                  <a:pt x="194" y="150"/>
                </a:moveTo>
                <a:cubicBezTo>
                  <a:pt x="194" y="150"/>
                  <a:pt x="194" y="150"/>
                  <a:pt x="194" y="151"/>
                </a:cubicBezTo>
                <a:cubicBezTo>
                  <a:pt x="191" y="152"/>
                  <a:pt x="188" y="154"/>
                  <a:pt x="183" y="155"/>
                </a:cubicBezTo>
                <a:cubicBezTo>
                  <a:pt x="183" y="156"/>
                  <a:pt x="183" y="156"/>
                  <a:pt x="183" y="156"/>
                </a:cubicBezTo>
                <a:cubicBezTo>
                  <a:pt x="183" y="173"/>
                  <a:pt x="183" y="173"/>
                  <a:pt x="183" y="173"/>
                </a:cubicBezTo>
                <a:cubicBezTo>
                  <a:pt x="183" y="174"/>
                  <a:pt x="183" y="174"/>
                  <a:pt x="183" y="174"/>
                </a:cubicBezTo>
                <a:cubicBezTo>
                  <a:pt x="183" y="174"/>
                  <a:pt x="183" y="175"/>
                  <a:pt x="184" y="175"/>
                </a:cubicBezTo>
                <a:cubicBezTo>
                  <a:pt x="184" y="175"/>
                  <a:pt x="184" y="175"/>
                  <a:pt x="184" y="174"/>
                </a:cubicBezTo>
                <a:cubicBezTo>
                  <a:pt x="192" y="172"/>
                  <a:pt x="195" y="169"/>
                  <a:pt x="195" y="166"/>
                </a:cubicBezTo>
                <a:cubicBezTo>
                  <a:pt x="195" y="152"/>
                  <a:pt x="195" y="152"/>
                  <a:pt x="195" y="152"/>
                </a:cubicBezTo>
                <a:cubicBezTo>
                  <a:pt x="195" y="151"/>
                  <a:pt x="195" y="151"/>
                  <a:pt x="195" y="151"/>
                </a:cubicBezTo>
                <a:cubicBezTo>
                  <a:pt x="195" y="150"/>
                  <a:pt x="195" y="150"/>
                  <a:pt x="194" y="150"/>
                </a:cubicBezTo>
                <a:close/>
                <a:moveTo>
                  <a:pt x="16" y="141"/>
                </a:moveTo>
                <a:cubicBezTo>
                  <a:pt x="16" y="141"/>
                  <a:pt x="16" y="141"/>
                  <a:pt x="16" y="141"/>
                </a:cubicBezTo>
                <a:cubicBezTo>
                  <a:pt x="15" y="141"/>
                  <a:pt x="15" y="142"/>
                  <a:pt x="15" y="142"/>
                </a:cubicBezTo>
                <a:cubicBezTo>
                  <a:pt x="16" y="146"/>
                  <a:pt x="26" y="150"/>
                  <a:pt x="32" y="151"/>
                </a:cubicBezTo>
                <a:cubicBezTo>
                  <a:pt x="40" y="154"/>
                  <a:pt x="59" y="159"/>
                  <a:pt x="89" y="160"/>
                </a:cubicBezTo>
                <a:cubicBezTo>
                  <a:pt x="94" y="160"/>
                  <a:pt x="94" y="160"/>
                  <a:pt x="94" y="160"/>
                </a:cubicBezTo>
                <a:cubicBezTo>
                  <a:pt x="96" y="160"/>
                  <a:pt x="96" y="160"/>
                  <a:pt x="96" y="160"/>
                </a:cubicBezTo>
                <a:cubicBezTo>
                  <a:pt x="99" y="160"/>
                  <a:pt x="102" y="160"/>
                  <a:pt x="105" y="160"/>
                </a:cubicBezTo>
                <a:cubicBezTo>
                  <a:pt x="108" y="160"/>
                  <a:pt x="111" y="160"/>
                  <a:pt x="113" y="160"/>
                </a:cubicBezTo>
                <a:cubicBezTo>
                  <a:pt x="118" y="160"/>
                  <a:pt x="118" y="160"/>
                  <a:pt x="118" y="160"/>
                </a:cubicBezTo>
                <a:cubicBezTo>
                  <a:pt x="119" y="160"/>
                  <a:pt x="120" y="160"/>
                  <a:pt x="122" y="160"/>
                </a:cubicBezTo>
                <a:cubicBezTo>
                  <a:pt x="152" y="159"/>
                  <a:pt x="171" y="154"/>
                  <a:pt x="179" y="151"/>
                </a:cubicBezTo>
                <a:cubicBezTo>
                  <a:pt x="185" y="149"/>
                  <a:pt x="195" y="146"/>
                  <a:pt x="195" y="142"/>
                </a:cubicBezTo>
                <a:cubicBezTo>
                  <a:pt x="195" y="142"/>
                  <a:pt x="195" y="141"/>
                  <a:pt x="195" y="141"/>
                </a:cubicBezTo>
                <a:cubicBezTo>
                  <a:pt x="195" y="140"/>
                  <a:pt x="194" y="138"/>
                  <a:pt x="185" y="135"/>
                </a:cubicBezTo>
                <a:cubicBezTo>
                  <a:pt x="185" y="135"/>
                  <a:pt x="185" y="135"/>
                  <a:pt x="185" y="135"/>
                </a:cubicBezTo>
                <a:cubicBezTo>
                  <a:pt x="185" y="135"/>
                  <a:pt x="185" y="135"/>
                  <a:pt x="184" y="135"/>
                </a:cubicBezTo>
                <a:cubicBezTo>
                  <a:pt x="184" y="135"/>
                  <a:pt x="183" y="136"/>
                  <a:pt x="183" y="136"/>
                </a:cubicBezTo>
                <a:cubicBezTo>
                  <a:pt x="183" y="136"/>
                  <a:pt x="183" y="136"/>
                  <a:pt x="182" y="136"/>
                </a:cubicBezTo>
                <a:cubicBezTo>
                  <a:pt x="181" y="137"/>
                  <a:pt x="181" y="137"/>
                  <a:pt x="181" y="137"/>
                </a:cubicBezTo>
                <a:cubicBezTo>
                  <a:pt x="176" y="140"/>
                  <a:pt x="167" y="143"/>
                  <a:pt x="156" y="145"/>
                </a:cubicBezTo>
                <a:cubicBezTo>
                  <a:pt x="155" y="145"/>
                  <a:pt x="155" y="145"/>
                  <a:pt x="155" y="145"/>
                </a:cubicBezTo>
                <a:cubicBezTo>
                  <a:pt x="154" y="146"/>
                  <a:pt x="152" y="146"/>
                  <a:pt x="152" y="146"/>
                </a:cubicBezTo>
                <a:cubicBezTo>
                  <a:pt x="146" y="147"/>
                  <a:pt x="140" y="148"/>
                  <a:pt x="134" y="149"/>
                </a:cubicBezTo>
                <a:cubicBezTo>
                  <a:pt x="128" y="149"/>
                  <a:pt x="122" y="150"/>
                  <a:pt x="116" y="150"/>
                </a:cubicBezTo>
                <a:cubicBezTo>
                  <a:pt x="111" y="151"/>
                  <a:pt x="106" y="151"/>
                  <a:pt x="101" y="151"/>
                </a:cubicBezTo>
                <a:cubicBezTo>
                  <a:pt x="99" y="151"/>
                  <a:pt x="97" y="151"/>
                  <a:pt x="95" y="151"/>
                </a:cubicBezTo>
                <a:cubicBezTo>
                  <a:pt x="93" y="151"/>
                  <a:pt x="92" y="151"/>
                  <a:pt x="90" y="151"/>
                </a:cubicBezTo>
                <a:cubicBezTo>
                  <a:pt x="85" y="151"/>
                  <a:pt x="79" y="151"/>
                  <a:pt x="73" y="150"/>
                </a:cubicBezTo>
                <a:cubicBezTo>
                  <a:pt x="56" y="149"/>
                  <a:pt x="39" y="147"/>
                  <a:pt x="26" y="144"/>
                </a:cubicBezTo>
                <a:cubicBezTo>
                  <a:pt x="26" y="144"/>
                  <a:pt x="24" y="143"/>
                  <a:pt x="24" y="143"/>
                </a:cubicBezTo>
                <a:cubicBezTo>
                  <a:pt x="22" y="143"/>
                  <a:pt x="21" y="142"/>
                  <a:pt x="20" y="142"/>
                </a:cubicBezTo>
                <a:cubicBezTo>
                  <a:pt x="19" y="142"/>
                  <a:pt x="18" y="141"/>
                  <a:pt x="17" y="141"/>
                </a:cubicBezTo>
                <a:cubicBezTo>
                  <a:pt x="17" y="141"/>
                  <a:pt x="17" y="141"/>
                  <a:pt x="16" y="141"/>
                </a:cubicBezTo>
                <a:close/>
                <a:moveTo>
                  <a:pt x="112" y="126"/>
                </a:moveTo>
                <a:cubicBezTo>
                  <a:pt x="109" y="126"/>
                  <a:pt x="105" y="126"/>
                  <a:pt x="102" y="126"/>
                </a:cubicBezTo>
                <a:cubicBezTo>
                  <a:pt x="98" y="126"/>
                  <a:pt x="98" y="126"/>
                  <a:pt x="98" y="126"/>
                </a:cubicBezTo>
                <a:cubicBezTo>
                  <a:pt x="98" y="126"/>
                  <a:pt x="97" y="126"/>
                  <a:pt x="97" y="127"/>
                </a:cubicBezTo>
                <a:cubicBezTo>
                  <a:pt x="97" y="145"/>
                  <a:pt x="97" y="145"/>
                  <a:pt x="97" y="145"/>
                </a:cubicBezTo>
                <a:cubicBezTo>
                  <a:pt x="97" y="145"/>
                  <a:pt x="97" y="145"/>
                  <a:pt x="97" y="146"/>
                </a:cubicBezTo>
                <a:cubicBezTo>
                  <a:pt x="98" y="146"/>
                  <a:pt x="98" y="146"/>
                  <a:pt x="98" y="146"/>
                </a:cubicBezTo>
                <a:cubicBezTo>
                  <a:pt x="98" y="146"/>
                  <a:pt x="100" y="146"/>
                  <a:pt x="100" y="146"/>
                </a:cubicBezTo>
                <a:cubicBezTo>
                  <a:pt x="100" y="146"/>
                  <a:pt x="101" y="146"/>
                  <a:pt x="102" y="146"/>
                </a:cubicBezTo>
                <a:cubicBezTo>
                  <a:pt x="104" y="146"/>
                  <a:pt x="104" y="146"/>
                  <a:pt x="104" y="146"/>
                </a:cubicBezTo>
                <a:cubicBezTo>
                  <a:pt x="106" y="146"/>
                  <a:pt x="108" y="146"/>
                  <a:pt x="110" y="146"/>
                </a:cubicBezTo>
                <a:cubicBezTo>
                  <a:pt x="113" y="146"/>
                  <a:pt x="113" y="146"/>
                  <a:pt x="113" y="146"/>
                </a:cubicBezTo>
                <a:cubicBezTo>
                  <a:pt x="113" y="146"/>
                  <a:pt x="114" y="145"/>
                  <a:pt x="114" y="144"/>
                </a:cubicBezTo>
                <a:cubicBezTo>
                  <a:pt x="114" y="127"/>
                  <a:pt x="114" y="127"/>
                  <a:pt x="114" y="127"/>
                </a:cubicBezTo>
                <a:cubicBezTo>
                  <a:pt x="114" y="126"/>
                  <a:pt x="113" y="126"/>
                  <a:pt x="113" y="126"/>
                </a:cubicBezTo>
                <a:cubicBezTo>
                  <a:pt x="113" y="126"/>
                  <a:pt x="113" y="126"/>
                  <a:pt x="112" y="126"/>
                </a:cubicBezTo>
                <a:cubicBezTo>
                  <a:pt x="112" y="126"/>
                  <a:pt x="112" y="126"/>
                  <a:pt x="112" y="126"/>
                </a:cubicBezTo>
                <a:close/>
                <a:moveTo>
                  <a:pt x="77" y="126"/>
                </a:moveTo>
                <a:cubicBezTo>
                  <a:pt x="77" y="126"/>
                  <a:pt x="76" y="126"/>
                  <a:pt x="76" y="126"/>
                </a:cubicBezTo>
                <a:cubicBezTo>
                  <a:pt x="76" y="126"/>
                  <a:pt x="76" y="126"/>
                  <a:pt x="76" y="127"/>
                </a:cubicBezTo>
                <a:cubicBezTo>
                  <a:pt x="76" y="144"/>
                  <a:pt x="76" y="144"/>
                  <a:pt x="76" y="144"/>
                </a:cubicBezTo>
                <a:cubicBezTo>
                  <a:pt x="76" y="145"/>
                  <a:pt x="76" y="146"/>
                  <a:pt x="77" y="146"/>
                </a:cubicBezTo>
                <a:cubicBezTo>
                  <a:pt x="79" y="146"/>
                  <a:pt x="81" y="146"/>
                  <a:pt x="83" y="146"/>
                </a:cubicBezTo>
                <a:cubicBezTo>
                  <a:pt x="89" y="146"/>
                  <a:pt x="89" y="146"/>
                  <a:pt x="89" y="146"/>
                </a:cubicBezTo>
                <a:cubicBezTo>
                  <a:pt x="90" y="146"/>
                  <a:pt x="90" y="146"/>
                  <a:pt x="91" y="146"/>
                </a:cubicBezTo>
                <a:cubicBezTo>
                  <a:pt x="92" y="146"/>
                  <a:pt x="92" y="145"/>
                  <a:pt x="92" y="145"/>
                </a:cubicBezTo>
                <a:cubicBezTo>
                  <a:pt x="92" y="127"/>
                  <a:pt x="92" y="127"/>
                  <a:pt x="92" y="127"/>
                </a:cubicBezTo>
                <a:cubicBezTo>
                  <a:pt x="92" y="126"/>
                  <a:pt x="92" y="126"/>
                  <a:pt x="91" y="126"/>
                </a:cubicBezTo>
                <a:cubicBezTo>
                  <a:pt x="88" y="126"/>
                  <a:pt x="88" y="126"/>
                  <a:pt x="88" y="126"/>
                </a:cubicBezTo>
                <a:cubicBezTo>
                  <a:pt x="84" y="126"/>
                  <a:pt x="80" y="126"/>
                  <a:pt x="77" y="126"/>
                </a:cubicBezTo>
                <a:cubicBezTo>
                  <a:pt x="77" y="126"/>
                  <a:pt x="77" y="126"/>
                  <a:pt x="77" y="126"/>
                </a:cubicBezTo>
                <a:close/>
                <a:moveTo>
                  <a:pt x="59" y="124"/>
                </a:moveTo>
                <a:cubicBezTo>
                  <a:pt x="59" y="124"/>
                  <a:pt x="59" y="124"/>
                  <a:pt x="58" y="125"/>
                </a:cubicBezTo>
                <a:cubicBezTo>
                  <a:pt x="58" y="125"/>
                  <a:pt x="58" y="125"/>
                  <a:pt x="58" y="125"/>
                </a:cubicBezTo>
                <a:cubicBezTo>
                  <a:pt x="58" y="143"/>
                  <a:pt x="58" y="143"/>
                  <a:pt x="58" y="143"/>
                </a:cubicBezTo>
                <a:cubicBezTo>
                  <a:pt x="58" y="144"/>
                  <a:pt x="58" y="144"/>
                  <a:pt x="59" y="144"/>
                </a:cubicBezTo>
                <a:cubicBezTo>
                  <a:pt x="61" y="144"/>
                  <a:pt x="61" y="144"/>
                  <a:pt x="61" y="144"/>
                </a:cubicBezTo>
                <a:cubicBezTo>
                  <a:pt x="64" y="145"/>
                  <a:pt x="67" y="145"/>
                  <a:pt x="70" y="145"/>
                </a:cubicBezTo>
                <a:cubicBezTo>
                  <a:pt x="70" y="145"/>
                  <a:pt x="70" y="145"/>
                  <a:pt x="70" y="145"/>
                </a:cubicBezTo>
                <a:cubicBezTo>
                  <a:pt x="70" y="145"/>
                  <a:pt x="70" y="145"/>
                  <a:pt x="71" y="145"/>
                </a:cubicBezTo>
                <a:cubicBezTo>
                  <a:pt x="71" y="145"/>
                  <a:pt x="71" y="144"/>
                  <a:pt x="71" y="144"/>
                </a:cubicBezTo>
                <a:cubicBezTo>
                  <a:pt x="71" y="126"/>
                  <a:pt x="71" y="126"/>
                  <a:pt x="71" y="126"/>
                </a:cubicBezTo>
                <a:cubicBezTo>
                  <a:pt x="71" y="126"/>
                  <a:pt x="70" y="125"/>
                  <a:pt x="70" y="125"/>
                </a:cubicBezTo>
                <a:cubicBezTo>
                  <a:pt x="66" y="125"/>
                  <a:pt x="63" y="125"/>
                  <a:pt x="59" y="124"/>
                </a:cubicBezTo>
                <a:cubicBezTo>
                  <a:pt x="59" y="124"/>
                  <a:pt x="59" y="124"/>
                  <a:pt x="59" y="124"/>
                </a:cubicBezTo>
                <a:close/>
                <a:moveTo>
                  <a:pt x="130" y="124"/>
                </a:moveTo>
                <a:cubicBezTo>
                  <a:pt x="127" y="125"/>
                  <a:pt x="123" y="125"/>
                  <a:pt x="120" y="125"/>
                </a:cubicBezTo>
                <a:cubicBezTo>
                  <a:pt x="119" y="125"/>
                  <a:pt x="118" y="126"/>
                  <a:pt x="118" y="126"/>
                </a:cubicBezTo>
                <a:cubicBezTo>
                  <a:pt x="118" y="144"/>
                  <a:pt x="118" y="144"/>
                  <a:pt x="118" y="144"/>
                </a:cubicBezTo>
                <a:cubicBezTo>
                  <a:pt x="118" y="144"/>
                  <a:pt x="119" y="145"/>
                  <a:pt x="119" y="145"/>
                </a:cubicBezTo>
                <a:cubicBezTo>
                  <a:pt x="119" y="145"/>
                  <a:pt x="119" y="145"/>
                  <a:pt x="120" y="145"/>
                </a:cubicBezTo>
                <a:cubicBezTo>
                  <a:pt x="120" y="145"/>
                  <a:pt x="124" y="145"/>
                  <a:pt x="124" y="145"/>
                </a:cubicBezTo>
                <a:cubicBezTo>
                  <a:pt x="125" y="145"/>
                  <a:pt x="127" y="145"/>
                  <a:pt x="129" y="144"/>
                </a:cubicBezTo>
                <a:cubicBezTo>
                  <a:pt x="130" y="144"/>
                  <a:pt x="130" y="144"/>
                  <a:pt x="130" y="144"/>
                </a:cubicBezTo>
                <a:cubicBezTo>
                  <a:pt x="131" y="144"/>
                  <a:pt x="131" y="144"/>
                  <a:pt x="131" y="143"/>
                </a:cubicBezTo>
                <a:cubicBezTo>
                  <a:pt x="131" y="125"/>
                  <a:pt x="131" y="125"/>
                  <a:pt x="131" y="125"/>
                </a:cubicBezTo>
                <a:cubicBezTo>
                  <a:pt x="131" y="125"/>
                  <a:pt x="131" y="125"/>
                  <a:pt x="131" y="125"/>
                </a:cubicBezTo>
                <a:cubicBezTo>
                  <a:pt x="131" y="124"/>
                  <a:pt x="131" y="124"/>
                  <a:pt x="130" y="124"/>
                </a:cubicBezTo>
                <a:cubicBezTo>
                  <a:pt x="130" y="124"/>
                  <a:pt x="130" y="124"/>
                  <a:pt x="130" y="124"/>
                </a:cubicBezTo>
                <a:close/>
                <a:moveTo>
                  <a:pt x="41" y="122"/>
                </a:moveTo>
                <a:cubicBezTo>
                  <a:pt x="41" y="122"/>
                  <a:pt x="41" y="122"/>
                  <a:pt x="41" y="122"/>
                </a:cubicBezTo>
                <a:cubicBezTo>
                  <a:pt x="40" y="122"/>
                  <a:pt x="40" y="123"/>
                  <a:pt x="40" y="123"/>
                </a:cubicBezTo>
                <a:cubicBezTo>
                  <a:pt x="40" y="141"/>
                  <a:pt x="40" y="141"/>
                  <a:pt x="40" y="141"/>
                </a:cubicBezTo>
                <a:cubicBezTo>
                  <a:pt x="40" y="141"/>
                  <a:pt x="41" y="142"/>
                  <a:pt x="41" y="142"/>
                </a:cubicBezTo>
                <a:cubicBezTo>
                  <a:pt x="44" y="142"/>
                  <a:pt x="48" y="143"/>
                  <a:pt x="52" y="143"/>
                </a:cubicBezTo>
                <a:cubicBezTo>
                  <a:pt x="52" y="143"/>
                  <a:pt x="52" y="143"/>
                  <a:pt x="52" y="143"/>
                </a:cubicBezTo>
                <a:cubicBezTo>
                  <a:pt x="52" y="143"/>
                  <a:pt x="52" y="143"/>
                  <a:pt x="53" y="143"/>
                </a:cubicBezTo>
                <a:cubicBezTo>
                  <a:pt x="53" y="143"/>
                  <a:pt x="53" y="143"/>
                  <a:pt x="53" y="142"/>
                </a:cubicBezTo>
                <a:cubicBezTo>
                  <a:pt x="53" y="125"/>
                  <a:pt x="53" y="125"/>
                  <a:pt x="53" y="125"/>
                </a:cubicBezTo>
                <a:cubicBezTo>
                  <a:pt x="53" y="124"/>
                  <a:pt x="53" y="124"/>
                  <a:pt x="52" y="124"/>
                </a:cubicBezTo>
                <a:cubicBezTo>
                  <a:pt x="48" y="123"/>
                  <a:pt x="45" y="123"/>
                  <a:pt x="41" y="122"/>
                </a:cubicBezTo>
                <a:cubicBezTo>
                  <a:pt x="41" y="122"/>
                  <a:pt x="41" y="122"/>
                  <a:pt x="41" y="122"/>
                </a:cubicBezTo>
                <a:close/>
                <a:moveTo>
                  <a:pt x="148" y="122"/>
                </a:moveTo>
                <a:cubicBezTo>
                  <a:pt x="144" y="123"/>
                  <a:pt x="141" y="123"/>
                  <a:pt x="137" y="124"/>
                </a:cubicBezTo>
                <a:cubicBezTo>
                  <a:pt x="137" y="124"/>
                  <a:pt x="136" y="124"/>
                  <a:pt x="136" y="125"/>
                </a:cubicBezTo>
                <a:cubicBezTo>
                  <a:pt x="136" y="142"/>
                  <a:pt x="136" y="142"/>
                  <a:pt x="136" y="142"/>
                </a:cubicBezTo>
                <a:cubicBezTo>
                  <a:pt x="136" y="143"/>
                  <a:pt x="136" y="143"/>
                  <a:pt x="137" y="143"/>
                </a:cubicBezTo>
                <a:cubicBezTo>
                  <a:pt x="137" y="143"/>
                  <a:pt x="137" y="143"/>
                  <a:pt x="137" y="143"/>
                </a:cubicBezTo>
                <a:cubicBezTo>
                  <a:pt x="137" y="143"/>
                  <a:pt x="137" y="143"/>
                  <a:pt x="138" y="143"/>
                </a:cubicBezTo>
                <a:cubicBezTo>
                  <a:pt x="141" y="143"/>
                  <a:pt x="145" y="142"/>
                  <a:pt x="148" y="142"/>
                </a:cubicBezTo>
                <a:cubicBezTo>
                  <a:pt x="149" y="142"/>
                  <a:pt x="149" y="141"/>
                  <a:pt x="149" y="141"/>
                </a:cubicBezTo>
                <a:cubicBezTo>
                  <a:pt x="149" y="123"/>
                  <a:pt x="149" y="123"/>
                  <a:pt x="149" y="123"/>
                </a:cubicBezTo>
                <a:cubicBezTo>
                  <a:pt x="149" y="123"/>
                  <a:pt x="149" y="122"/>
                  <a:pt x="149" y="122"/>
                </a:cubicBezTo>
                <a:cubicBezTo>
                  <a:pt x="149" y="122"/>
                  <a:pt x="148" y="122"/>
                  <a:pt x="148" y="122"/>
                </a:cubicBezTo>
                <a:cubicBezTo>
                  <a:pt x="148" y="122"/>
                  <a:pt x="148" y="122"/>
                  <a:pt x="148" y="122"/>
                </a:cubicBezTo>
                <a:close/>
                <a:moveTo>
                  <a:pt x="166" y="118"/>
                </a:moveTo>
                <a:cubicBezTo>
                  <a:pt x="162" y="119"/>
                  <a:pt x="158" y="120"/>
                  <a:pt x="155" y="121"/>
                </a:cubicBezTo>
                <a:cubicBezTo>
                  <a:pt x="154" y="121"/>
                  <a:pt x="154" y="121"/>
                  <a:pt x="154" y="122"/>
                </a:cubicBezTo>
                <a:cubicBezTo>
                  <a:pt x="154" y="139"/>
                  <a:pt x="154" y="139"/>
                  <a:pt x="154" y="139"/>
                </a:cubicBezTo>
                <a:cubicBezTo>
                  <a:pt x="154" y="140"/>
                  <a:pt x="154" y="140"/>
                  <a:pt x="155" y="140"/>
                </a:cubicBezTo>
                <a:cubicBezTo>
                  <a:pt x="155" y="140"/>
                  <a:pt x="155" y="140"/>
                  <a:pt x="155" y="140"/>
                </a:cubicBezTo>
                <a:cubicBezTo>
                  <a:pt x="155" y="140"/>
                  <a:pt x="155" y="140"/>
                  <a:pt x="155" y="140"/>
                </a:cubicBezTo>
                <a:cubicBezTo>
                  <a:pt x="159" y="139"/>
                  <a:pt x="163" y="139"/>
                  <a:pt x="166" y="138"/>
                </a:cubicBezTo>
                <a:cubicBezTo>
                  <a:pt x="167" y="138"/>
                  <a:pt x="167" y="137"/>
                  <a:pt x="167" y="137"/>
                </a:cubicBezTo>
                <a:cubicBezTo>
                  <a:pt x="167" y="119"/>
                  <a:pt x="167" y="119"/>
                  <a:pt x="167" y="119"/>
                </a:cubicBezTo>
                <a:cubicBezTo>
                  <a:pt x="167" y="119"/>
                  <a:pt x="167" y="119"/>
                  <a:pt x="167" y="119"/>
                </a:cubicBezTo>
                <a:cubicBezTo>
                  <a:pt x="166" y="118"/>
                  <a:pt x="166" y="118"/>
                  <a:pt x="166" y="118"/>
                </a:cubicBezTo>
                <a:cubicBezTo>
                  <a:pt x="166" y="118"/>
                  <a:pt x="166" y="118"/>
                  <a:pt x="166" y="118"/>
                </a:cubicBezTo>
                <a:close/>
                <a:moveTo>
                  <a:pt x="23" y="118"/>
                </a:moveTo>
                <a:cubicBezTo>
                  <a:pt x="23" y="118"/>
                  <a:pt x="23" y="118"/>
                  <a:pt x="23" y="119"/>
                </a:cubicBezTo>
                <a:cubicBezTo>
                  <a:pt x="23" y="119"/>
                  <a:pt x="22" y="119"/>
                  <a:pt x="22" y="119"/>
                </a:cubicBezTo>
                <a:cubicBezTo>
                  <a:pt x="22" y="137"/>
                  <a:pt x="22" y="137"/>
                  <a:pt x="22" y="137"/>
                </a:cubicBezTo>
                <a:cubicBezTo>
                  <a:pt x="22" y="137"/>
                  <a:pt x="23" y="137"/>
                  <a:pt x="23" y="138"/>
                </a:cubicBezTo>
                <a:cubicBezTo>
                  <a:pt x="23" y="138"/>
                  <a:pt x="23" y="138"/>
                  <a:pt x="24" y="138"/>
                </a:cubicBezTo>
                <a:cubicBezTo>
                  <a:pt x="25" y="138"/>
                  <a:pt x="25" y="138"/>
                  <a:pt x="25" y="138"/>
                </a:cubicBezTo>
                <a:cubicBezTo>
                  <a:pt x="28" y="139"/>
                  <a:pt x="31" y="140"/>
                  <a:pt x="34" y="140"/>
                </a:cubicBezTo>
                <a:cubicBezTo>
                  <a:pt x="34" y="140"/>
                  <a:pt x="34" y="140"/>
                  <a:pt x="34" y="140"/>
                </a:cubicBezTo>
                <a:cubicBezTo>
                  <a:pt x="34" y="140"/>
                  <a:pt x="35" y="140"/>
                  <a:pt x="35" y="140"/>
                </a:cubicBezTo>
                <a:cubicBezTo>
                  <a:pt x="35" y="140"/>
                  <a:pt x="35" y="140"/>
                  <a:pt x="35" y="139"/>
                </a:cubicBezTo>
                <a:cubicBezTo>
                  <a:pt x="35" y="122"/>
                  <a:pt x="35" y="122"/>
                  <a:pt x="35" y="122"/>
                </a:cubicBezTo>
                <a:cubicBezTo>
                  <a:pt x="35" y="121"/>
                  <a:pt x="35" y="121"/>
                  <a:pt x="34" y="121"/>
                </a:cubicBezTo>
                <a:cubicBezTo>
                  <a:pt x="31" y="120"/>
                  <a:pt x="27" y="119"/>
                  <a:pt x="24" y="118"/>
                </a:cubicBezTo>
                <a:cubicBezTo>
                  <a:pt x="24" y="118"/>
                  <a:pt x="24" y="118"/>
                  <a:pt x="23" y="118"/>
                </a:cubicBezTo>
                <a:close/>
                <a:moveTo>
                  <a:pt x="16" y="135"/>
                </a:moveTo>
                <a:cubicBezTo>
                  <a:pt x="16" y="135"/>
                  <a:pt x="16" y="135"/>
                  <a:pt x="16" y="135"/>
                </a:cubicBezTo>
                <a:cubicBezTo>
                  <a:pt x="17" y="135"/>
                  <a:pt x="17" y="135"/>
                  <a:pt x="17" y="135"/>
                </a:cubicBezTo>
                <a:cubicBezTo>
                  <a:pt x="17" y="135"/>
                  <a:pt x="17" y="135"/>
                  <a:pt x="17" y="134"/>
                </a:cubicBezTo>
                <a:cubicBezTo>
                  <a:pt x="17" y="117"/>
                  <a:pt x="17" y="117"/>
                  <a:pt x="17" y="117"/>
                </a:cubicBezTo>
                <a:cubicBezTo>
                  <a:pt x="17" y="117"/>
                  <a:pt x="17" y="116"/>
                  <a:pt x="17" y="116"/>
                </a:cubicBezTo>
                <a:cubicBezTo>
                  <a:pt x="12" y="115"/>
                  <a:pt x="9" y="113"/>
                  <a:pt x="6" y="111"/>
                </a:cubicBezTo>
                <a:cubicBezTo>
                  <a:pt x="6" y="111"/>
                  <a:pt x="6" y="111"/>
                  <a:pt x="6" y="111"/>
                </a:cubicBezTo>
                <a:cubicBezTo>
                  <a:pt x="5" y="111"/>
                  <a:pt x="5" y="111"/>
                  <a:pt x="5" y="111"/>
                </a:cubicBezTo>
                <a:cubicBezTo>
                  <a:pt x="5" y="112"/>
                  <a:pt x="5" y="112"/>
                  <a:pt x="5" y="112"/>
                </a:cubicBezTo>
                <a:cubicBezTo>
                  <a:pt x="5" y="127"/>
                  <a:pt x="5" y="127"/>
                  <a:pt x="5" y="127"/>
                </a:cubicBezTo>
                <a:cubicBezTo>
                  <a:pt x="5" y="129"/>
                  <a:pt x="8" y="132"/>
                  <a:pt x="14" y="134"/>
                </a:cubicBezTo>
                <a:cubicBezTo>
                  <a:pt x="14" y="135"/>
                  <a:pt x="14" y="135"/>
                  <a:pt x="14" y="135"/>
                </a:cubicBezTo>
                <a:lnTo>
                  <a:pt x="16" y="135"/>
                </a:lnTo>
                <a:close/>
                <a:moveTo>
                  <a:pt x="184" y="111"/>
                </a:moveTo>
                <a:cubicBezTo>
                  <a:pt x="183" y="111"/>
                  <a:pt x="183" y="111"/>
                  <a:pt x="183" y="111"/>
                </a:cubicBezTo>
                <a:cubicBezTo>
                  <a:pt x="180" y="113"/>
                  <a:pt x="177" y="115"/>
                  <a:pt x="173" y="116"/>
                </a:cubicBezTo>
                <a:cubicBezTo>
                  <a:pt x="172" y="116"/>
                  <a:pt x="172" y="117"/>
                  <a:pt x="172" y="117"/>
                </a:cubicBezTo>
                <a:cubicBezTo>
                  <a:pt x="172" y="134"/>
                  <a:pt x="172" y="134"/>
                  <a:pt x="172" y="134"/>
                </a:cubicBezTo>
                <a:cubicBezTo>
                  <a:pt x="172" y="135"/>
                  <a:pt x="172" y="135"/>
                  <a:pt x="172" y="135"/>
                </a:cubicBezTo>
                <a:cubicBezTo>
                  <a:pt x="173" y="135"/>
                  <a:pt x="173" y="135"/>
                  <a:pt x="173" y="135"/>
                </a:cubicBezTo>
                <a:cubicBezTo>
                  <a:pt x="173" y="135"/>
                  <a:pt x="173" y="135"/>
                  <a:pt x="173" y="135"/>
                </a:cubicBezTo>
                <a:cubicBezTo>
                  <a:pt x="178" y="134"/>
                  <a:pt x="181" y="132"/>
                  <a:pt x="183" y="130"/>
                </a:cubicBezTo>
                <a:cubicBezTo>
                  <a:pt x="184" y="129"/>
                  <a:pt x="184" y="129"/>
                  <a:pt x="184" y="129"/>
                </a:cubicBezTo>
                <a:cubicBezTo>
                  <a:pt x="185" y="128"/>
                  <a:pt x="185" y="128"/>
                  <a:pt x="185" y="127"/>
                </a:cubicBezTo>
                <a:cubicBezTo>
                  <a:pt x="185" y="112"/>
                  <a:pt x="185" y="112"/>
                  <a:pt x="185" y="112"/>
                </a:cubicBezTo>
                <a:cubicBezTo>
                  <a:pt x="185" y="112"/>
                  <a:pt x="185" y="112"/>
                  <a:pt x="184" y="111"/>
                </a:cubicBezTo>
                <a:cubicBezTo>
                  <a:pt x="184" y="111"/>
                  <a:pt x="184" y="111"/>
                  <a:pt x="184" y="111"/>
                </a:cubicBezTo>
                <a:close/>
                <a:moveTo>
                  <a:pt x="23" y="93"/>
                </a:moveTo>
                <a:cubicBezTo>
                  <a:pt x="7" y="97"/>
                  <a:pt x="5" y="101"/>
                  <a:pt x="5" y="102"/>
                </a:cubicBezTo>
                <a:cubicBezTo>
                  <a:pt x="5" y="102"/>
                  <a:pt x="5" y="102"/>
                  <a:pt x="5" y="103"/>
                </a:cubicBezTo>
                <a:cubicBezTo>
                  <a:pt x="5" y="106"/>
                  <a:pt x="14" y="110"/>
                  <a:pt x="21" y="112"/>
                </a:cubicBezTo>
                <a:cubicBezTo>
                  <a:pt x="30" y="115"/>
                  <a:pt x="48" y="119"/>
                  <a:pt x="79" y="121"/>
                </a:cubicBezTo>
                <a:cubicBezTo>
                  <a:pt x="79" y="121"/>
                  <a:pt x="79" y="121"/>
                  <a:pt x="79" y="121"/>
                </a:cubicBezTo>
                <a:cubicBezTo>
                  <a:pt x="80" y="121"/>
                  <a:pt x="81" y="121"/>
                  <a:pt x="82" y="121"/>
                </a:cubicBezTo>
                <a:cubicBezTo>
                  <a:pt x="86" y="121"/>
                  <a:pt x="86" y="121"/>
                  <a:pt x="86" y="121"/>
                </a:cubicBezTo>
                <a:cubicBezTo>
                  <a:pt x="89" y="121"/>
                  <a:pt x="92" y="121"/>
                  <a:pt x="95" y="121"/>
                </a:cubicBezTo>
                <a:cubicBezTo>
                  <a:pt x="97" y="121"/>
                  <a:pt x="99" y="121"/>
                  <a:pt x="101" y="121"/>
                </a:cubicBezTo>
                <a:cubicBezTo>
                  <a:pt x="107" y="121"/>
                  <a:pt x="107" y="121"/>
                  <a:pt x="107" y="121"/>
                </a:cubicBezTo>
                <a:cubicBezTo>
                  <a:pt x="130" y="120"/>
                  <a:pt x="153" y="117"/>
                  <a:pt x="168" y="112"/>
                </a:cubicBezTo>
                <a:cubicBezTo>
                  <a:pt x="173" y="111"/>
                  <a:pt x="176" y="109"/>
                  <a:pt x="179" y="108"/>
                </a:cubicBezTo>
                <a:cubicBezTo>
                  <a:pt x="180" y="108"/>
                  <a:pt x="180" y="107"/>
                  <a:pt x="180" y="107"/>
                </a:cubicBezTo>
                <a:cubicBezTo>
                  <a:pt x="179" y="106"/>
                  <a:pt x="179" y="106"/>
                  <a:pt x="179" y="106"/>
                </a:cubicBezTo>
                <a:cubicBezTo>
                  <a:pt x="179" y="106"/>
                  <a:pt x="178" y="106"/>
                  <a:pt x="178" y="106"/>
                </a:cubicBezTo>
                <a:cubicBezTo>
                  <a:pt x="167" y="108"/>
                  <a:pt x="153" y="110"/>
                  <a:pt x="137" y="111"/>
                </a:cubicBezTo>
                <a:cubicBezTo>
                  <a:pt x="133" y="111"/>
                  <a:pt x="128" y="112"/>
                  <a:pt x="124" y="112"/>
                </a:cubicBezTo>
                <a:cubicBezTo>
                  <a:pt x="121" y="112"/>
                  <a:pt x="118" y="112"/>
                  <a:pt x="116" y="112"/>
                </a:cubicBezTo>
                <a:cubicBezTo>
                  <a:pt x="114" y="112"/>
                  <a:pt x="112" y="112"/>
                  <a:pt x="110" y="112"/>
                </a:cubicBezTo>
                <a:cubicBezTo>
                  <a:pt x="105" y="112"/>
                  <a:pt x="100" y="111"/>
                  <a:pt x="95" y="111"/>
                </a:cubicBezTo>
                <a:cubicBezTo>
                  <a:pt x="80" y="110"/>
                  <a:pt x="66" y="108"/>
                  <a:pt x="55" y="106"/>
                </a:cubicBezTo>
                <a:cubicBezTo>
                  <a:pt x="54" y="106"/>
                  <a:pt x="53" y="106"/>
                  <a:pt x="52" y="105"/>
                </a:cubicBezTo>
                <a:cubicBezTo>
                  <a:pt x="51" y="105"/>
                  <a:pt x="51" y="105"/>
                  <a:pt x="51" y="105"/>
                </a:cubicBezTo>
                <a:cubicBezTo>
                  <a:pt x="38" y="102"/>
                  <a:pt x="28" y="98"/>
                  <a:pt x="24" y="94"/>
                </a:cubicBezTo>
                <a:cubicBezTo>
                  <a:pt x="24" y="94"/>
                  <a:pt x="23" y="93"/>
                  <a:pt x="23" y="93"/>
                </a:cubicBezTo>
                <a:cubicBezTo>
                  <a:pt x="23" y="93"/>
                  <a:pt x="23" y="93"/>
                  <a:pt x="23" y="93"/>
                </a:cubicBezTo>
                <a:close/>
                <a:moveTo>
                  <a:pt x="98" y="86"/>
                </a:moveTo>
                <a:cubicBezTo>
                  <a:pt x="98" y="86"/>
                  <a:pt x="98" y="87"/>
                  <a:pt x="97" y="87"/>
                </a:cubicBezTo>
                <a:cubicBezTo>
                  <a:pt x="97" y="87"/>
                  <a:pt x="97" y="87"/>
                  <a:pt x="97" y="88"/>
                </a:cubicBezTo>
                <a:cubicBezTo>
                  <a:pt x="97" y="105"/>
                  <a:pt x="97" y="105"/>
                  <a:pt x="97" y="105"/>
                </a:cubicBezTo>
                <a:cubicBezTo>
                  <a:pt x="97" y="106"/>
                  <a:pt x="98" y="106"/>
                  <a:pt x="98" y="106"/>
                </a:cubicBezTo>
                <a:cubicBezTo>
                  <a:pt x="101" y="107"/>
                  <a:pt x="104" y="107"/>
                  <a:pt x="106" y="107"/>
                </a:cubicBezTo>
                <a:cubicBezTo>
                  <a:pt x="106" y="107"/>
                  <a:pt x="112" y="107"/>
                  <a:pt x="112" y="107"/>
                </a:cubicBezTo>
                <a:cubicBezTo>
                  <a:pt x="113" y="107"/>
                  <a:pt x="113" y="107"/>
                  <a:pt x="113" y="106"/>
                </a:cubicBezTo>
                <a:cubicBezTo>
                  <a:pt x="113" y="106"/>
                  <a:pt x="114" y="106"/>
                  <a:pt x="114" y="106"/>
                </a:cubicBezTo>
                <a:cubicBezTo>
                  <a:pt x="114" y="88"/>
                  <a:pt x="114" y="88"/>
                  <a:pt x="114" y="88"/>
                </a:cubicBezTo>
                <a:cubicBezTo>
                  <a:pt x="114" y="87"/>
                  <a:pt x="113" y="87"/>
                  <a:pt x="112" y="87"/>
                </a:cubicBezTo>
                <a:cubicBezTo>
                  <a:pt x="109" y="87"/>
                  <a:pt x="109" y="87"/>
                  <a:pt x="109" y="87"/>
                </a:cubicBezTo>
                <a:cubicBezTo>
                  <a:pt x="105" y="87"/>
                  <a:pt x="102" y="87"/>
                  <a:pt x="98" y="86"/>
                </a:cubicBezTo>
                <a:cubicBezTo>
                  <a:pt x="98" y="86"/>
                  <a:pt x="98" y="86"/>
                  <a:pt x="98" y="86"/>
                </a:cubicBezTo>
                <a:close/>
                <a:moveTo>
                  <a:pt x="134" y="86"/>
                </a:moveTo>
                <a:cubicBezTo>
                  <a:pt x="130" y="87"/>
                  <a:pt x="127" y="87"/>
                  <a:pt x="123" y="87"/>
                </a:cubicBezTo>
                <a:cubicBezTo>
                  <a:pt x="120" y="87"/>
                  <a:pt x="120" y="87"/>
                  <a:pt x="120" y="87"/>
                </a:cubicBezTo>
                <a:cubicBezTo>
                  <a:pt x="119" y="87"/>
                  <a:pt x="118" y="87"/>
                  <a:pt x="118" y="88"/>
                </a:cubicBezTo>
                <a:cubicBezTo>
                  <a:pt x="118" y="106"/>
                  <a:pt x="118" y="106"/>
                  <a:pt x="118" y="106"/>
                </a:cubicBezTo>
                <a:cubicBezTo>
                  <a:pt x="118" y="106"/>
                  <a:pt x="119" y="106"/>
                  <a:pt x="119" y="106"/>
                </a:cubicBezTo>
                <a:cubicBezTo>
                  <a:pt x="119" y="107"/>
                  <a:pt x="119" y="107"/>
                  <a:pt x="120" y="107"/>
                </a:cubicBezTo>
                <a:cubicBezTo>
                  <a:pt x="120" y="107"/>
                  <a:pt x="120" y="107"/>
                  <a:pt x="120" y="107"/>
                </a:cubicBezTo>
                <a:cubicBezTo>
                  <a:pt x="125" y="107"/>
                  <a:pt x="129" y="107"/>
                  <a:pt x="134" y="106"/>
                </a:cubicBezTo>
                <a:cubicBezTo>
                  <a:pt x="134" y="106"/>
                  <a:pt x="135" y="106"/>
                  <a:pt x="135" y="105"/>
                </a:cubicBezTo>
                <a:cubicBezTo>
                  <a:pt x="135" y="88"/>
                  <a:pt x="135" y="88"/>
                  <a:pt x="135" y="88"/>
                </a:cubicBezTo>
                <a:cubicBezTo>
                  <a:pt x="135" y="87"/>
                  <a:pt x="135" y="87"/>
                  <a:pt x="135" y="87"/>
                </a:cubicBezTo>
                <a:cubicBezTo>
                  <a:pt x="134" y="87"/>
                  <a:pt x="134" y="86"/>
                  <a:pt x="134" y="86"/>
                </a:cubicBezTo>
                <a:cubicBezTo>
                  <a:pt x="134" y="86"/>
                  <a:pt x="134" y="86"/>
                  <a:pt x="134" y="86"/>
                </a:cubicBezTo>
                <a:close/>
                <a:moveTo>
                  <a:pt x="80" y="85"/>
                </a:moveTo>
                <a:cubicBezTo>
                  <a:pt x="80" y="85"/>
                  <a:pt x="80" y="85"/>
                  <a:pt x="80" y="85"/>
                </a:cubicBezTo>
                <a:cubicBezTo>
                  <a:pt x="79" y="86"/>
                  <a:pt x="79" y="86"/>
                  <a:pt x="79" y="86"/>
                </a:cubicBezTo>
                <a:cubicBezTo>
                  <a:pt x="79" y="104"/>
                  <a:pt x="79" y="104"/>
                  <a:pt x="79" y="104"/>
                </a:cubicBezTo>
                <a:cubicBezTo>
                  <a:pt x="79" y="104"/>
                  <a:pt x="80" y="105"/>
                  <a:pt x="80" y="105"/>
                </a:cubicBezTo>
                <a:cubicBezTo>
                  <a:pt x="80" y="105"/>
                  <a:pt x="82" y="105"/>
                  <a:pt x="82" y="105"/>
                </a:cubicBezTo>
                <a:cubicBezTo>
                  <a:pt x="84" y="105"/>
                  <a:pt x="86" y="106"/>
                  <a:pt x="89" y="106"/>
                </a:cubicBezTo>
                <a:cubicBezTo>
                  <a:pt x="89" y="106"/>
                  <a:pt x="91" y="106"/>
                  <a:pt x="91" y="106"/>
                </a:cubicBezTo>
                <a:cubicBezTo>
                  <a:pt x="91" y="106"/>
                  <a:pt x="92" y="106"/>
                  <a:pt x="92" y="106"/>
                </a:cubicBezTo>
                <a:cubicBezTo>
                  <a:pt x="92" y="105"/>
                  <a:pt x="92" y="105"/>
                  <a:pt x="92" y="105"/>
                </a:cubicBezTo>
                <a:cubicBezTo>
                  <a:pt x="92" y="87"/>
                  <a:pt x="92" y="87"/>
                  <a:pt x="92" y="87"/>
                </a:cubicBezTo>
                <a:cubicBezTo>
                  <a:pt x="92" y="87"/>
                  <a:pt x="92" y="86"/>
                  <a:pt x="91" y="86"/>
                </a:cubicBezTo>
                <a:cubicBezTo>
                  <a:pt x="88" y="86"/>
                  <a:pt x="84" y="85"/>
                  <a:pt x="81" y="85"/>
                </a:cubicBezTo>
                <a:cubicBezTo>
                  <a:pt x="81" y="85"/>
                  <a:pt x="80" y="85"/>
                  <a:pt x="80" y="85"/>
                </a:cubicBezTo>
                <a:close/>
                <a:moveTo>
                  <a:pt x="152" y="85"/>
                </a:moveTo>
                <a:cubicBezTo>
                  <a:pt x="148" y="85"/>
                  <a:pt x="144" y="86"/>
                  <a:pt x="141" y="86"/>
                </a:cubicBezTo>
                <a:cubicBezTo>
                  <a:pt x="140" y="86"/>
                  <a:pt x="140" y="87"/>
                  <a:pt x="140" y="87"/>
                </a:cubicBezTo>
                <a:cubicBezTo>
                  <a:pt x="140" y="105"/>
                  <a:pt x="140" y="105"/>
                  <a:pt x="140" y="105"/>
                </a:cubicBezTo>
                <a:cubicBezTo>
                  <a:pt x="140" y="105"/>
                  <a:pt x="140" y="105"/>
                  <a:pt x="140" y="106"/>
                </a:cubicBezTo>
                <a:cubicBezTo>
                  <a:pt x="140" y="106"/>
                  <a:pt x="141" y="106"/>
                  <a:pt x="141" y="106"/>
                </a:cubicBezTo>
                <a:cubicBezTo>
                  <a:pt x="141" y="106"/>
                  <a:pt x="145" y="106"/>
                  <a:pt x="145" y="106"/>
                </a:cubicBezTo>
                <a:cubicBezTo>
                  <a:pt x="148" y="105"/>
                  <a:pt x="150" y="105"/>
                  <a:pt x="152" y="105"/>
                </a:cubicBezTo>
                <a:cubicBezTo>
                  <a:pt x="152" y="105"/>
                  <a:pt x="153" y="104"/>
                  <a:pt x="153" y="104"/>
                </a:cubicBezTo>
                <a:cubicBezTo>
                  <a:pt x="153" y="86"/>
                  <a:pt x="153" y="86"/>
                  <a:pt x="153" y="86"/>
                </a:cubicBezTo>
                <a:cubicBezTo>
                  <a:pt x="153" y="86"/>
                  <a:pt x="153" y="86"/>
                  <a:pt x="152" y="85"/>
                </a:cubicBezTo>
                <a:cubicBezTo>
                  <a:pt x="152" y="85"/>
                  <a:pt x="152" y="85"/>
                  <a:pt x="152" y="85"/>
                </a:cubicBezTo>
                <a:cubicBezTo>
                  <a:pt x="152" y="85"/>
                  <a:pt x="152" y="85"/>
                  <a:pt x="152" y="85"/>
                </a:cubicBezTo>
                <a:close/>
                <a:moveTo>
                  <a:pt x="63" y="83"/>
                </a:moveTo>
                <a:cubicBezTo>
                  <a:pt x="62" y="83"/>
                  <a:pt x="62" y="83"/>
                  <a:pt x="62" y="83"/>
                </a:cubicBezTo>
                <a:cubicBezTo>
                  <a:pt x="62" y="83"/>
                  <a:pt x="62" y="84"/>
                  <a:pt x="62" y="84"/>
                </a:cubicBezTo>
                <a:cubicBezTo>
                  <a:pt x="62" y="101"/>
                  <a:pt x="62" y="101"/>
                  <a:pt x="62" y="101"/>
                </a:cubicBezTo>
                <a:cubicBezTo>
                  <a:pt x="62" y="102"/>
                  <a:pt x="62" y="102"/>
                  <a:pt x="62" y="103"/>
                </a:cubicBezTo>
                <a:cubicBezTo>
                  <a:pt x="63" y="103"/>
                  <a:pt x="63" y="103"/>
                  <a:pt x="63" y="103"/>
                </a:cubicBezTo>
                <a:cubicBezTo>
                  <a:pt x="64" y="103"/>
                  <a:pt x="65" y="103"/>
                  <a:pt x="67" y="103"/>
                </a:cubicBezTo>
                <a:cubicBezTo>
                  <a:pt x="69" y="104"/>
                  <a:pt x="71" y="104"/>
                  <a:pt x="73" y="104"/>
                </a:cubicBezTo>
                <a:cubicBezTo>
                  <a:pt x="73" y="104"/>
                  <a:pt x="73" y="104"/>
                  <a:pt x="73" y="104"/>
                </a:cubicBezTo>
                <a:cubicBezTo>
                  <a:pt x="74" y="104"/>
                  <a:pt x="74" y="104"/>
                  <a:pt x="74" y="104"/>
                </a:cubicBezTo>
                <a:cubicBezTo>
                  <a:pt x="74" y="104"/>
                  <a:pt x="74" y="103"/>
                  <a:pt x="74" y="103"/>
                </a:cubicBezTo>
                <a:cubicBezTo>
                  <a:pt x="74" y="85"/>
                  <a:pt x="74" y="85"/>
                  <a:pt x="74" y="85"/>
                </a:cubicBezTo>
                <a:cubicBezTo>
                  <a:pt x="74" y="85"/>
                  <a:pt x="74" y="84"/>
                  <a:pt x="73" y="84"/>
                </a:cubicBezTo>
                <a:cubicBezTo>
                  <a:pt x="70" y="84"/>
                  <a:pt x="66" y="83"/>
                  <a:pt x="63" y="83"/>
                </a:cubicBezTo>
                <a:cubicBezTo>
                  <a:pt x="63" y="83"/>
                  <a:pt x="63" y="83"/>
                  <a:pt x="63" y="83"/>
                </a:cubicBezTo>
                <a:close/>
                <a:moveTo>
                  <a:pt x="169" y="83"/>
                </a:moveTo>
                <a:cubicBezTo>
                  <a:pt x="166" y="83"/>
                  <a:pt x="162" y="84"/>
                  <a:pt x="159" y="84"/>
                </a:cubicBezTo>
                <a:cubicBezTo>
                  <a:pt x="158" y="84"/>
                  <a:pt x="158" y="85"/>
                  <a:pt x="158" y="85"/>
                </a:cubicBezTo>
                <a:cubicBezTo>
                  <a:pt x="158" y="103"/>
                  <a:pt x="158" y="103"/>
                  <a:pt x="158" y="103"/>
                </a:cubicBezTo>
                <a:cubicBezTo>
                  <a:pt x="158" y="103"/>
                  <a:pt x="158" y="104"/>
                  <a:pt x="158" y="104"/>
                </a:cubicBezTo>
                <a:cubicBezTo>
                  <a:pt x="158" y="104"/>
                  <a:pt x="159" y="104"/>
                  <a:pt x="159" y="104"/>
                </a:cubicBezTo>
                <a:cubicBezTo>
                  <a:pt x="159" y="104"/>
                  <a:pt x="162" y="104"/>
                  <a:pt x="162" y="104"/>
                </a:cubicBezTo>
                <a:cubicBezTo>
                  <a:pt x="165" y="103"/>
                  <a:pt x="165" y="103"/>
                  <a:pt x="165" y="103"/>
                </a:cubicBezTo>
                <a:cubicBezTo>
                  <a:pt x="165" y="103"/>
                  <a:pt x="166" y="103"/>
                  <a:pt x="167" y="103"/>
                </a:cubicBezTo>
                <a:cubicBezTo>
                  <a:pt x="169" y="103"/>
                  <a:pt x="169" y="103"/>
                  <a:pt x="169" y="103"/>
                </a:cubicBezTo>
                <a:cubicBezTo>
                  <a:pt x="170" y="103"/>
                  <a:pt x="171" y="102"/>
                  <a:pt x="171" y="101"/>
                </a:cubicBezTo>
                <a:cubicBezTo>
                  <a:pt x="171" y="84"/>
                  <a:pt x="171" y="84"/>
                  <a:pt x="171" y="84"/>
                </a:cubicBezTo>
                <a:cubicBezTo>
                  <a:pt x="171" y="84"/>
                  <a:pt x="170" y="83"/>
                  <a:pt x="170" y="83"/>
                </a:cubicBezTo>
                <a:cubicBezTo>
                  <a:pt x="170" y="83"/>
                  <a:pt x="170" y="83"/>
                  <a:pt x="169" y="83"/>
                </a:cubicBezTo>
                <a:cubicBezTo>
                  <a:pt x="169" y="83"/>
                  <a:pt x="169" y="83"/>
                  <a:pt x="169" y="83"/>
                </a:cubicBezTo>
                <a:close/>
                <a:moveTo>
                  <a:pt x="187" y="79"/>
                </a:moveTo>
                <a:cubicBezTo>
                  <a:pt x="187" y="79"/>
                  <a:pt x="187" y="79"/>
                  <a:pt x="187" y="79"/>
                </a:cubicBezTo>
                <a:cubicBezTo>
                  <a:pt x="184" y="80"/>
                  <a:pt x="180" y="81"/>
                  <a:pt x="176" y="82"/>
                </a:cubicBezTo>
                <a:cubicBezTo>
                  <a:pt x="176" y="82"/>
                  <a:pt x="175" y="82"/>
                  <a:pt x="175" y="83"/>
                </a:cubicBezTo>
                <a:cubicBezTo>
                  <a:pt x="175" y="100"/>
                  <a:pt x="175" y="100"/>
                  <a:pt x="175" y="100"/>
                </a:cubicBezTo>
                <a:cubicBezTo>
                  <a:pt x="175" y="100"/>
                  <a:pt x="176" y="101"/>
                  <a:pt x="176" y="101"/>
                </a:cubicBezTo>
                <a:cubicBezTo>
                  <a:pt x="176" y="101"/>
                  <a:pt x="176" y="101"/>
                  <a:pt x="177" y="101"/>
                </a:cubicBezTo>
                <a:cubicBezTo>
                  <a:pt x="177" y="101"/>
                  <a:pt x="177" y="101"/>
                  <a:pt x="177" y="101"/>
                </a:cubicBezTo>
                <a:cubicBezTo>
                  <a:pt x="177" y="101"/>
                  <a:pt x="180" y="101"/>
                  <a:pt x="180" y="100"/>
                </a:cubicBezTo>
                <a:cubicBezTo>
                  <a:pt x="182" y="100"/>
                  <a:pt x="184" y="99"/>
                  <a:pt x="186" y="99"/>
                </a:cubicBezTo>
                <a:cubicBezTo>
                  <a:pt x="187" y="99"/>
                  <a:pt x="187" y="99"/>
                  <a:pt x="188" y="99"/>
                </a:cubicBezTo>
                <a:cubicBezTo>
                  <a:pt x="188" y="98"/>
                  <a:pt x="188" y="98"/>
                  <a:pt x="188" y="97"/>
                </a:cubicBezTo>
                <a:cubicBezTo>
                  <a:pt x="188" y="80"/>
                  <a:pt x="188" y="80"/>
                  <a:pt x="188" y="80"/>
                </a:cubicBezTo>
                <a:cubicBezTo>
                  <a:pt x="188" y="80"/>
                  <a:pt x="188" y="80"/>
                  <a:pt x="188" y="79"/>
                </a:cubicBezTo>
                <a:cubicBezTo>
                  <a:pt x="188" y="79"/>
                  <a:pt x="188" y="79"/>
                  <a:pt x="187" y="79"/>
                </a:cubicBezTo>
                <a:close/>
                <a:moveTo>
                  <a:pt x="45" y="79"/>
                </a:moveTo>
                <a:cubicBezTo>
                  <a:pt x="45" y="79"/>
                  <a:pt x="44" y="79"/>
                  <a:pt x="44" y="79"/>
                </a:cubicBezTo>
                <a:cubicBezTo>
                  <a:pt x="44" y="80"/>
                  <a:pt x="44" y="80"/>
                  <a:pt x="44" y="80"/>
                </a:cubicBezTo>
                <a:cubicBezTo>
                  <a:pt x="44" y="97"/>
                  <a:pt x="44" y="97"/>
                  <a:pt x="44" y="97"/>
                </a:cubicBezTo>
                <a:cubicBezTo>
                  <a:pt x="44" y="98"/>
                  <a:pt x="44" y="98"/>
                  <a:pt x="45" y="98"/>
                </a:cubicBezTo>
                <a:cubicBezTo>
                  <a:pt x="48" y="99"/>
                  <a:pt x="51" y="100"/>
                  <a:pt x="55" y="101"/>
                </a:cubicBezTo>
                <a:cubicBezTo>
                  <a:pt x="55" y="101"/>
                  <a:pt x="55" y="101"/>
                  <a:pt x="56" y="101"/>
                </a:cubicBezTo>
                <a:cubicBezTo>
                  <a:pt x="56" y="101"/>
                  <a:pt x="56" y="101"/>
                  <a:pt x="56" y="101"/>
                </a:cubicBezTo>
                <a:cubicBezTo>
                  <a:pt x="56" y="101"/>
                  <a:pt x="57" y="100"/>
                  <a:pt x="57" y="100"/>
                </a:cubicBezTo>
                <a:cubicBezTo>
                  <a:pt x="57" y="83"/>
                  <a:pt x="57" y="83"/>
                  <a:pt x="57" y="83"/>
                </a:cubicBezTo>
                <a:cubicBezTo>
                  <a:pt x="57" y="82"/>
                  <a:pt x="56" y="82"/>
                  <a:pt x="56" y="82"/>
                </a:cubicBezTo>
                <a:cubicBezTo>
                  <a:pt x="52" y="81"/>
                  <a:pt x="48" y="80"/>
                  <a:pt x="45" y="79"/>
                </a:cubicBezTo>
                <a:cubicBezTo>
                  <a:pt x="45" y="79"/>
                  <a:pt x="45" y="79"/>
                  <a:pt x="45" y="79"/>
                </a:cubicBezTo>
                <a:close/>
                <a:moveTo>
                  <a:pt x="205" y="72"/>
                </a:moveTo>
                <a:cubicBezTo>
                  <a:pt x="205" y="72"/>
                  <a:pt x="205" y="72"/>
                  <a:pt x="204" y="72"/>
                </a:cubicBezTo>
                <a:cubicBezTo>
                  <a:pt x="202" y="74"/>
                  <a:pt x="198" y="76"/>
                  <a:pt x="194" y="77"/>
                </a:cubicBezTo>
                <a:cubicBezTo>
                  <a:pt x="194" y="77"/>
                  <a:pt x="193" y="78"/>
                  <a:pt x="193" y="78"/>
                </a:cubicBezTo>
                <a:cubicBezTo>
                  <a:pt x="193" y="95"/>
                  <a:pt x="193" y="95"/>
                  <a:pt x="193" y="95"/>
                </a:cubicBezTo>
                <a:cubicBezTo>
                  <a:pt x="193" y="95"/>
                  <a:pt x="193" y="96"/>
                  <a:pt x="194" y="96"/>
                </a:cubicBezTo>
                <a:cubicBezTo>
                  <a:pt x="194" y="96"/>
                  <a:pt x="194" y="96"/>
                  <a:pt x="194" y="96"/>
                </a:cubicBezTo>
                <a:cubicBezTo>
                  <a:pt x="195" y="96"/>
                  <a:pt x="195" y="96"/>
                  <a:pt x="195" y="96"/>
                </a:cubicBezTo>
                <a:cubicBezTo>
                  <a:pt x="202" y="93"/>
                  <a:pt x="206" y="91"/>
                  <a:pt x="206" y="88"/>
                </a:cubicBezTo>
                <a:cubicBezTo>
                  <a:pt x="206" y="73"/>
                  <a:pt x="206" y="73"/>
                  <a:pt x="206" y="73"/>
                </a:cubicBezTo>
                <a:cubicBezTo>
                  <a:pt x="206" y="73"/>
                  <a:pt x="206" y="72"/>
                  <a:pt x="206" y="72"/>
                </a:cubicBezTo>
                <a:cubicBezTo>
                  <a:pt x="205" y="72"/>
                  <a:pt x="205" y="72"/>
                  <a:pt x="205" y="72"/>
                </a:cubicBezTo>
                <a:close/>
                <a:moveTo>
                  <a:pt x="27" y="72"/>
                </a:moveTo>
                <a:cubicBezTo>
                  <a:pt x="27" y="72"/>
                  <a:pt x="27" y="72"/>
                  <a:pt x="26" y="72"/>
                </a:cubicBezTo>
                <a:cubicBezTo>
                  <a:pt x="26" y="72"/>
                  <a:pt x="26" y="73"/>
                  <a:pt x="26" y="73"/>
                </a:cubicBezTo>
                <a:cubicBezTo>
                  <a:pt x="26" y="88"/>
                  <a:pt x="26" y="88"/>
                  <a:pt x="26" y="88"/>
                </a:cubicBezTo>
                <a:cubicBezTo>
                  <a:pt x="26" y="88"/>
                  <a:pt x="26" y="88"/>
                  <a:pt x="26" y="88"/>
                </a:cubicBezTo>
                <a:cubicBezTo>
                  <a:pt x="26" y="89"/>
                  <a:pt x="26" y="89"/>
                  <a:pt x="26" y="89"/>
                </a:cubicBezTo>
                <a:cubicBezTo>
                  <a:pt x="26" y="89"/>
                  <a:pt x="26" y="89"/>
                  <a:pt x="26" y="89"/>
                </a:cubicBezTo>
                <a:cubicBezTo>
                  <a:pt x="28" y="91"/>
                  <a:pt x="31" y="94"/>
                  <a:pt x="37" y="96"/>
                </a:cubicBezTo>
                <a:cubicBezTo>
                  <a:pt x="37" y="96"/>
                  <a:pt x="38" y="96"/>
                  <a:pt x="38" y="96"/>
                </a:cubicBezTo>
                <a:cubicBezTo>
                  <a:pt x="38" y="96"/>
                  <a:pt x="38" y="96"/>
                  <a:pt x="38" y="96"/>
                </a:cubicBezTo>
                <a:cubicBezTo>
                  <a:pt x="39" y="96"/>
                  <a:pt x="39" y="95"/>
                  <a:pt x="39" y="95"/>
                </a:cubicBezTo>
                <a:cubicBezTo>
                  <a:pt x="39" y="78"/>
                  <a:pt x="39" y="78"/>
                  <a:pt x="39" y="78"/>
                </a:cubicBezTo>
                <a:cubicBezTo>
                  <a:pt x="39" y="78"/>
                  <a:pt x="39" y="77"/>
                  <a:pt x="38" y="77"/>
                </a:cubicBezTo>
                <a:cubicBezTo>
                  <a:pt x="34" y="76"/>
                  <a:pt x="30" y="74"/>
                  <a:pt x="28" y="72"/>
                </a:cubicBezTo>
                <a:cubicBezTo>
                  <a:pt x="27" y="72"/>
                  <a:pt x="27" y="72"/>
                  <a:pt x="27" y="72"/>
                </a:cubicBezTo>
                <a:close/>
                <a:moveTo>
                  <a:pt x="27" y="62"/>
                </a:moveTo>
                <a:cubicBezTo>
                  <a:pt x="27" y="62"/>
                  <a:pt x="26" y="62"/>
                  <a:pt x="26" y="63"/>
                </a:cubicBezTo>
                <a:cubicBezTo>
                  <a:pt x="26" y="63"/>
                  <a:pt x="26" y="63"/>
                  <a:pt x="26" y="63"/>
                </a:cubicBezTo>
                <a:cubicBezTo>
                  <a:pt x="26" y="63"/>
                  <a:pt x="26" y="63"/>
                  <a:pt x="26" y="63"/>
                </a:cubicBezTo>
                <a:cubicBezTo>
                  <a:pt x="27" y="68"/>
                  <a:pt x="37" y="71"/>
                  <a:pt x="42" y="73"/>
                </a:cubicBezTo>
                <a:cubicBezTo>
                  <a:pt x="51" y="76"/>
                  <a:pt x="70" y="80"/>
                  <a:pt x="100" y="82"/>
                </a:cubicBezTo>
                <a:cubicBezTo>
                  <a:pt x="107" y="82"/>
                  <a:pt x="107" y="82"/>
                  <a:pt x="107" y="82"/>
                </a:cubicBezTo>
                <a:cubicBezTo>
                  <a:pt x="110" y="82"/>
                  <a:pt x="113" y="82"/>
                  <a:pt x="116" y="82"/>
                </a:cubicBezTo>
                <a:cubicBezTo>
                  <a:pt x="119" y="82"/>
                  <a:pt x="122" y="82"/>
                  <a:pt x="125" y="82"/>
                </a:cubicBezTo>
                <a:cubicBezTo>
                  <a:pt x="128" y="82"/>
                  <a:pt x="128" y="82"/>
                  <a:pt x="128" y="82"/>
                </a:cubicBezTo>
                <a:cubicBezTo>
                  <a:pt x="132" y="82"/>
                  <a:pt x="132" y="82"/>
                  <a:pt x="132" y="82"/>
                </a:cubicBezTo>
                <a:cubicBezTo>
                  <a:pt x="162" y="80"/>
                  <a:pt x="181" y="76"/>
                  <a:pt x="190" y="73"/>
                </a:cubicBezTo>
                <a:cubicBezTo>
                  <a:pt x="196" y="71"/>
                  <a:pt x="206" y="67"/>
                  <a:pt x="206" y="63"/>
                </a:cubicBezTo>
                <a:cubicBezTo>
                  <a:pt x="206" y="63"/>
                  <a:pt x="206" y="63"/>
                  <a:pt x="206" y="63"/>
                </a:cubicBezTo>
                <a:cubicBezTo>
                  <a:pt x="206" y="62"/>
                  <a:pt x="203" y="57"/>
                  <a:pt x="185" y="53"/>
                </a:cubicBezTo>
                <a:cubicBezTo>
                  <a:pt x="185" y="53"/>
                  <a:pt x="185" y="53"/>
                  <a:pt x="184" y="53"/>
                </a:cubicBezTo>
                <a:cubicBezTo>
                  <a:pt x="184" y="53"/>
                  <a:pt x="184" y="53"/>
                  <a:pt x="184" y="54"/>
                </a:cubicBezTo>
                <a:cubicBezTo>
                  <a:pt x="182" y="55"/>
                  <a:pt x="182" y="55"/>
                  <a:pt x="182" y="55"/>
                </a:cubicBezTo>
                <a:cubicBezTo>
                  <a:pt x="181" y="55"/>
                  <a:pt x="181" y="55"/>
                  <a:pt x="181" y="55"/>
                </a:cubicBezTo>
                <a:cubicBezTo>
                  <a:pt x="180" y="56"/>
                  <a:pt x="179" y="56"/>
                  <a:pt x="178" y="57"/>
                </a:cubicBezTo>
                <a:cubicBezTo>
                  <a:pt x="178" y="57"/>
                  <a:pt x="178" y="57"/>
                  <a:pt x="177" y="57"/>
                </a:cubicBezTo>
                <a:cubicBezTo>
                  <a:pt x="176" y="57"/>
                  <a:pt x="175" y="58"/>
                  <a:pt x="174" y="58"/>
                </a:cubicBezTo>
                <a:cubicBezTo>
                  <a:pt x="174" y="58"/>
                  <a:pt x="174" y="58"/>
                  <a:pt x="174" y="58"/>
                </a:cubicBezTo>
                <a:cubicBezTo>
                  <a:pt x="173" y="59"/>
                  <a:pt x="171" y="59"/>
                  <a:pt x="170" y="60"/>
                </a:cubicBezTo>
                <a:cubicBezTo>
                  <a:pt x="170" y="60"/>
                  <a:pt x="167" y="61"/>
                  <a:pt x="167" y="61"/>
                </a:cubicBezTo>
                <a:cubicBezTo>
                  <a:pt x="150" y="66"/>
                  <a:pt x="126" y="69"/>
                  <a:pt x="100" y="69"/>
                </a:cubicBezTo>
                <a:cubicBezTo>
                  <a:pt x="98" y="69"/>
                  <a:pt x="97" y="69"/>
                  <a:pt x="95" y="69"/>
                </a:cubicBezTo>
                <a:cubicBezTo>
                  <a:pt x="92" y="69"/>
                  <a:pt x="89" y="69"/>
                  <a:pt x="87" y="69"/>
                </a:cubicBezTo>
                <a:cubicBezTo>
                  <a:pt x="82" y="69"/>
                  <a:pt x="78" y="69"/>
                  <a:pt x="73" y="68"/>
                </a:cubicBezTo>
                <a:cubicBezTo>
                  <a:pt x="73" y="68"/>
                  <a:pt x="73" y="68"/>
                  <a:pt x="73" y="68"/>
                </a:cubicBezTo>
                <a:cubicBezTo>
                  <a:pt x="67" y="68"/>
                  <a:pt x="61" y="67"/>
                  <a:pt x="56" y="67"/>
                </a:cubicBezTo>
                <a:cubicBezTo>
                  <a:pt x="47" y="66"/>
                  <a:pt x="39" y="65"/>
                  <a:pt x="32" y="63"/>
                </a:cubicBezTo>
                <a:cubicBezTo>
                  <a:pt x="31" y="63"/>
                  <a:pt x="30" y="63"/>
                  <a:pt x="28" y="62"/>
                </a:cubicBezTo>
                <a:cubicBezTo>
                  <a:pt x="28" y="62"/>
                  <a:pt x="28" y="62"/>
                  <a:pt x="28" y="62"/>
                </a:cubicBezTo>
                <a:cubicBezTo>
                  <a:pt x="28" y="62"/>
                  <a:pt x="27" y="62"/>
                  <a:pt x="27" y="62"/>
                </a:cubicBezTo>
                <a:close/>
                <a:moveTo>
                  <a:pt x="77" y="44"/>
                </a:moveTo>
                <a:cubicBezTo>
                  <a:pt x="77" y="44"/>
                  <a:pt x="76" y="44"/>
                  <a:pt x="76" y="44"/>
                </a:cubicBezTo>
                <a:cubicBezTo>
                  <a:pt x="76" y="44"/>
                  <a:pt x="76" y="44"/>
                  <a:pt x="76" y="45"/>
                </a:cubicBezTo>
                <a:cubicBezTo>
                  <a:pt x="76" y="63"/>
                  <a:pt x="76" y="63"/>
                  <a:pt x="76" y="63"/>
                </a:cubicBezTo>
                <a:cubicBezTo>
                  <a:pt x="76" y="63"/>
                  <a:pt x="76" y="64"/>
                  <a:pt x="77" y="64"/>
                </a:cubicBezTo>
                <a:cubicBezTo>
                  <a:pt x="82" y="64"/>
                  <a:pt x="86" y="64"/>
                  <a:pt x="91" y="64"/>
                </a:cubicBezTo>
                <a:cubicBezTo>
                  <a:pt x="91" y="64"/>
                  <a:pt x="91" y="64"/>
                  <a:pt x="91" y="64"/>
                </a:cubicBezTo>
                <a:cubicBezTo>
                  <a:pt x="91" y="64"/>
                  <a:pt x="92" y="64"/>
                  <a:pt x="92" y="64"/>
                </a:cubicBezTo>
                <a:cubicBezTo>
                  <a:pt x="92" y="64"/>
                  <a:pt x="92" y="63"/>
                  <a:pt x="92" y="63"/>
                </a:cubicBezTo>
                <a:cubicBezTo>
                  <a:pt x="92" y="45"/>
                  <a:pt x="92" y="45"/>
                  <a:pt x="92" y="45"/>
                </a:cubicBezTo>
                <a:cubicBezTo>
                  <a:pt x="92" y="45"/>
                  <a:pt x="92" y="44"/>
                  <a:pt x="91" y="44"/>
                </a:cubicBezTo>
                <a:cubicBezTo>
                  <a:pt x="90" y="44"/>
                  <a:pt x="89" y="44"/>
                  <a:pt x="88" y="44"/>
                </a:cubicBezTo>
                <a:cubicBezTo>
                  <a:pt x="88" y="44"/>
                  <a:pt x="88" y="44"/>
                  <a:pt x="88" y="44"/>
                </a:cubicBezTo>
                <a:cubicBezTo>
                  <a:pt x="84" y="44"/>
                  <a:pt x="80" y="44"/>
                  <a:pt x="77" y="44"/>
                </a:cubicBezTo>
                <a:cubicBezTo>
                  <a:pt x="77" y="44"/>
                  <a:pt x="77" y="44"/>
                  <a:pt x="77" y="44"/>
                </a:cubicBezTo>
                <a:close/>
                <a:moveTo>
                  <a:pt x="112" y="44"/>
                </a:moveTo>
                <a:cubicBezTo>
                  <a:pt x="109" y="44"/>
                  <a:pt x="105" y="44"/>
                  <a:pt x="102" y="44"/>
                </a:cubicBezTo>
                <a:cubicBezTo>
                  <a:pt x="101" y="44"/>
                  <a:pt x="101" y="44"/>
                  <a:pt x="101" y="44"/>
                </a:cubicBezTo>
                <a:cubicBezTo>
                  <a:pt x="100" y="44"/>
                  <a:pt x="99" y="44"/>
                  <a:pt x="98" y="44"/>
                </a:cubicBezTo>
                <a:cubicBezTo>
                  <a:pt x="98" y="44"/>
                  <a:pt x="97" y="45"/>
                  <a:pt x="97" y="45"/>
                </a:cubicBezTo>
                <a:cubicBezTo>
                  <a:pt x="97" y="63"/>
                  <a:pt x="97" y="63"/>
                  <a:pt x="97" y="63"/>
                </a:cubicBezTo>
                <a:cubicBezTo>
                  <a:pt x="97" y="64"/>
                  <a:pt x="98" y="64"/>
                  <a:pt x="98" y="64"/>
                </a:cubicBezTo>
                <a:cubicBezTo>
                  <a:pt x="100" y="64"/>
                  <a:pt x="101" y="64"/>
                  <a:pt x="102" y="64"/>
                </a:cubicBezTo>
                <a:cubicBezTo>
                  <a:pt x="103" y="64"/>
                  <a:pt x="103" y="64"/>
                  <a:pt x="103" y="64"/>
                </a:cubicBezTo>
                <a:cubicBezTo>
                  <a:pt x="106" y="64"/>
                  <a:pt x="108" y="64"/>
                  <a:pt x="111" y="64"/>
                </a:cubicBezTo>
                <a:cubicBezTo>
                  <a:pt x="113" y="64"/>
                  <a:pt x="113" y="64"/>
                  <a:pt x="113" y="64"/>
                </a:cubicBezTo>
                <a:cubicBezTo>
                  <a:pt x="113" y="64"/>
                  <a:pt x="114" y="63"/>
                  <a:pt x="114" y="63"/>
                </a:cubicBezTo>
                <a:cubicBezTo>
                  <a:pt x="114" y="45"/>
                  <a:pt x="114" y="45"/>
                  <a:pt x="114" y="45"/>
                </a:cubicBezTo>
                <a:cubicBezTo>
                  <a:pt x="114" y="44"/>
                  <a:pt x="113" y="44"/>
                  <a:pt x="113" y="44"/>
                </a:cubicBezTo>
                <a:cubicBezTo>
                  <a:pt x="113" y="44"/>
                  <a:pt x="113" y="44"/>
                  <a:pt x="112" y="44"/>
                </a:cubicBezTo>
                <a:cubicBezTo>
                  <a:pt x="112" y="44"/>
                  <a:pt x="112" y="44"/>
                  <a:pt x="112" y="44"/>
                </a:cubicBezTo>
                <a:close/>
                <a:moveTo>
                  <a:pt x="130" y="42"/>
                </a:moveTo>
                <a:cubicBezTo>
                  <a:pt x="127" y="43"/>
                  <a:pt x="123" y="43"/>
                  <a:pt x="120" y="43"/>
                </a:cubicBezTo>
                <a:cubicBezTo>
                  <a:pt x="119" y="43"/>
                  <a:pt x="118" y="44"/>
                  <a:pt x="118" y="44"/>
                </a:cubicBezTo>
                <a:cubicBezTo>
                  <a:pt x="118" y="62"/>
                  <a:pt x="118" y="62"/>
                  <a:pt x="118" y="62"/>
                </a:cubicBezTo>
                <a:cubicBezTo>
                  <a:pt x="118" y="62"/>
                  <a:pt x="119" y="63"/>
                  <a:pt x="119" y="63"/>
                </a:cubicBezTo>
                <a:cubicBezTo>
                  <a:pt x="119" y="63"/>
                  <a:pt x="119" y="63"/>
                  <a:pt x="120" y="63"/>
                </a:cubicBezTo>
                <a:cubicBezTo>
                  <a:pt x="120" y="63"/>
                  <a:pt x="120" y="63"/>
                  <a:pt x="120" y="63"/>
                </a:cubicBezTo>
                <a:cubicBezTo>
                  <a:pt x="123" y="63"/>
                  <a:pt x="127" y="63"/>
                  <a:pt x="130" y="62"/>
                </a:cubicBezTo>
                <a:cubicBezTo>
                  <a:pt x="131" y="62"/>
                  <a:pt x="131" y="62"/>
                  <a:pt x="131" y="61"/>
                </a:cubicBezTo>
                <a:cubicBezTo>
                  <a:pt x="131" y="44"/>
                  <a:pt x="131" y="44"/>
                  <a:pt x="131" y="44"/>
                </a:cubicBezTo>
                <a:cubicBezTo>
                  <a:pt x="131" y="43"/>
                  <a:pt x="131" y="43"/>
                  <a:pt x="131" y="43"/>
                </a:cubicBezTo>
                <a:cubicBezTo>
                  <a:pt x="131" y="43"/>
                  <a:pt x="131" y="42"/>
                  <a:pt x="130" y="42"/>
                </a:cubicBezTo>
                <a:cubicBezTo>
                  <a:pt x="130" y="42"/>
                  <a:pt x="130" y="42"/>
                  <a:pt x="130" y="42"/>
                </a:cubicBezTo>
                <a:close/>
                <a:moveTo>
                  <a:pt x="59" y="42"/>
                </a:moveTo>
                <a:cubicBezTo>
                  <a:pt x="59" y="42"/>
                  <a:pt x="59" y="43"/>
                  <a:pt x="58" y="43"/>
                </a:cubicBezTo>
                <a:cubicBezTo>
                  <a:pt x="58" y="43"/>
                  <a:pt x="58" y="43"/>
                  <a:pt x="58" y="44"/>
                </a:cubicBezTo>
                <a:cubicBezTo>
                  <a:pt x="58" y="61"/>
                  <a:pt x="58" y="61"/>
                  <a:pt x="58" y="61"/>
                </a:cubicBezTo>
                <a:cubicBezTo>
                  <a:pt x="58" y="62"/>
                  <a:pt x="58" y="62"/>
                  <a:pt x="59" y="62"/>
                </a:cubicBezTo>
                <a:cubicBezTo>
                  <a:pt x="62" y="63"/>
                  <a:pt x="66" y="63"/>
                  <a:pt x="70" y="63"/>
                </a:cubicBezTo>
                <a:cubicBezTo>
                  <a:pt x="70" y="63"/>
                  <a:pt x="70" y="63"/>
                  <a:pt x="70" y="63"/>
                </a:cubicBezTo>
                <a:cubicBezTo>
                  <a:pt x="70" y="63"/>
                  <a:pt x="70" y="63"/>
                  <a:pt x="71" y="63"/>
                </a:cubicBezTo>
                <a:cubicBezTo>
                  <a:pt x="71" y="63"/>
                  <a:pt x="71" y="62"/>
                  <a:pt x="71" y="62"/>
                </a:cubicBezTo>
                <a:cubicBezTo>
                  <a:pt x="71" y="44"/>
                  <a:pt x="71" y="44"/>
                  <a:pt x="71" y="44"/>
                </a:cubicBezTo>
                <a:cubicBezTo>
                  <a:pt x="71" y="44"/>
                  <a:pt x="70" y="43"/>
                  <a:pt x="70" y="43"/>
                </a:cubicBezTo>
                <a:cubicBezTo>
                  <a:pt x="66" y="43"/>
                  <a:pt x="63" y="43"/>
                  <a:pt x="59" y="42"/>
                </a:cubicBezTo>
                <a:cubicBezTo>
                  <a:pt x="59" y="42"/>
                  <a:pt x="59" y="42"/>
                  <a:pt x="59" y="42"/>
                </a:cubicBezTo>
                <a:close/>
                <a:moveTo>
                  <a:pt x="148" y="40"/>
                </a:moveTo>
                <a:cubicBezTo>
                  <a:pt x="144" y="41"/>
                  <a:pt x="141" y="41"/>
                  <a:pt x="137" y="42"/>
                </a:cubicBezTo>
                <a:cubicBezTo>
                  <a:pt x="137" y="42"/>
                  <a:pt x="136" y="42"/>
                  <a:pt x="136" y="43"/>
                </a:cubicBezTo>
                <a:cubicBezTo>
                  <a:pt x="136" y="60"/>
                  <a:pt x="136" y="60"/>
                  <a:pt x="136" y="60"/>
                </a:cubicBezTo>
                <a:cubicBezTo>
                  <a:pt x="136" y="61"/>
                  <a:pt x="136" y="61"/>
                  <a:pt x="137" y="61"/>
                </a:cubicBezTo>
                <a:cubicBezTo>
                  <a:pt x="137" y="61"/>
                  <a:pt x="137" y="61"/>
                  <a:pt x="137" y="61"/>
                </a:cubicBezTo>
                <a:cubicBezTo>
                  <a:pt x="137" y="61"/>
                  <a:pt x="137" y="61"/>
                  <a:pt x="138" y="61"/>
                </a:cubicBezTo>
                <a:cubicBezTo>
                  <a:pt x="141" y="61"/>
                  <a:pt x="145" y="60"/>
                  <a:pt x="148" y="60"/>
                </a:cubicBezTo>
                <a:cubicBezTo>
                  <a:pt x="149" y="60"/>
                  <a:pt x="149" y="59"/>
                  <a:pt x="149" y="59"/>
                </a:cubicBezTo>
                <a:cubicBezTo>
                  <a:pt x="149" y="41"/>
                  <a:pt x="149" y="41"/>
                  <a:pt x="149" y="41"/>
                </a:cubicBezTo>
                <a:cubicBezTo>
                  <a:pt x="149" y="41"/>
                  <a:pt x="149" y="41"/>
                  <a:pt x="149" y="40"/>
                </a:cubicBezTo>
                <a:cubicBezTo>
                  <a:pt x="149" y="40"/>
                  <a:pt x="148" y="40"/>
                  <a:pt x="148" y="40"/>
                </a:cubicBezTo>
                <a:cubicBezTo>
                  <a:pt x="148" y="40"/>
                  <a:pt x="148" y="40"/>
                  <a:pt x="148" y="40"/>
                </a:cubicBezTo>
                <a:close/>
                <a:moveTo>
                  <a:pt x="41" y="40"/>
                </a:moveTo>
                <a:cubicBezTo>
                  <a:pt x="41" y="40"/>
                  <a:pt x="41" y="40"/>
                  <a:pt x="41" y="40"/>
                </a:cubicBezTo>
                <a:cubicBezTo>
                  <a:pt x="40" y="41"/>
                  <a:pt x="40" y="41"/>
                  <a:pt x="40" y="41"/>
                </a:cubicBezTo>
                <a:cubicBezTo>
                  <a:pt x="40" y="59"/>
                  <a:pt x="40" y="59"/>
                  <a:pt x="40" y="59"/>
                </a:cubicBezTo>
                <a:cubicBezTo>
                  <a:pt x="40" y="59"/>
                  <a:pt x="41" y="60"/>
                  <a:pt x="41" y="60"/>
                </a:cubicBezTo>
                <a:cubicBezTo>
                  <a:pt x="42" y="60"/>
                  <a:pt x="42" y="60"/>
                  <a:pt x="42" y="60"/>
                </a:cubicBezTo>
                <a:cubicBezTo>
                  <a:pt x="44" y="60"/>
                  <a:pt x="46" y="61"/>
                  <a:pt x="48" y="61"/>
                </a:cubicBezTo>
                <a:cubicBezTo>
                  <a:pt x="50" y="61"/>
                  <a:pt x="50" y="61"/>
                  <a:pt x="50" y="61"/>
                </a:cubicBezTo>
                <a:cubicBezTo>
                  <a:pt x="50" y="61"/>
                  <a:pt x="52" y="61"/>
                  <a:pt x="52" y="61"/>
                </a:cubicBezTo>
                <a:cubicBezTo>
                  <a:pt x="52" y="61"/>
                  <a:pt x="52" y="61"/>
                  <a:pt x="53" y="61"/>
                </a:cubicBezTo>
                <a:cubicBezTo>
                  <a:pt x="53" y="61"/>
                  <a:pt x="53" y="61"/>
                  <a:pt x="53" y="60"/>
                </a:cubicBezTo>
                <a:cubicBezTo>
                  <a:pt x="53" y="43"/>
                  <a:pt x="53" y="43"/>
                  <a:pt x="53" y="43"/>
                </a:cubicBezTo>
                <a:cubicBezTo>
                  <a:pt x="53" y="42"/>
                  <a:pt x="53" y="42"/>
                  <a:pt x="52" y="42"/>
                </a:cubicBezTo>
                <a:cubicBezTo>
                  <a:pt x="48" y="41"/>
                  <a:pt x="45" y="41"/>
                  <a:pt x="41" y="40"/>
                </a:cubicBezTo>
                <a:cubicBezTo>
                  <a:pt x="41" y="40"/>
                  <a:pt x="41" y="40"/>
                  <a:pt x="41" y="40"/>
                </a:cubicBezTo>
                <a:close/>
                <a:moveTo>
                  <a:pt x="23" y="36"/>
                </a:moveTo>
                <a:cubicBezTo>
                  <a:pt x="23" y="36"/>
                  <a:pt x="23" y="36"/>
                  <a:pt x="23" y="37"/>
                </a:cubicBezTo>
                <a:cubicBezTo>
                  <a:pt x="23" y="37"/>
                  <a:pt x="22" y="37"/>
                  <a:pt x="22" y="38"/>
                </a:cubicBezTo>
                <a:cubicBezTo>
                  <a:pt x="22" y="55"/>
                  <a:pt x="22" y="55"/>
                  <a:pt x="22" y="55"/>
                </a:cubicBezTo>
                <a:cubicBezTo>
                  <a:pt x="22" y="55"/>
                  <a:pt x="23" y="56"/>
                  <a:pt x="23" y="56"/>
                </a:cubicBezTo>
                <a:cubicBezTo>
                  <a:pt x="24" y="56"/>
                  <a:pt x="26" y="56"/>
                  <a:pt x="27" y="57"/>
                </a:cubicBezTo>
                <a:cubicBezTo>
                  <a:pt x="29" y="57"/>
                  <a:pt x="31" y="58"/>
                  <a:pt x="33" y="58"/>
                </a:cubicBezTo>
                <a:cubicBezTo>
                  <a:pt x="34" y="58"/>
                  <a:pt x="34" y="58"/>
                  <a:pt x="34" y="58"/>
                </a:cubicBezTo>
                <a:cubicBezTo>
                  <a:pt x="34" y="58"/>
                  <a:pt x="34" y="58"/>
                  <a:pt x="34" y="58"/>
                </a:cubicBezTo>
                <a:cubicBezTo>
                  <a:pt x="34" y="58"/>
                  <a:pt x="35" y="58"/>
                  <a:pt x="35" y="58"/>
                </a:cubicBezTo>
                <a:cubicBezTo>
                  <a:pt x="35" y="58"/>
                  <a:pt x="35" y="58"/>
                  <a:pt x="35" y="57"/>
                </a:cubicBezTo>
                <a:cubicBezTo>
                  <a:pt x="35" y="40"/>
                  <a:pt x="35" y="40"/>
                  <a:pt x="35" y="40"/>
                </a:cubicBezTo>
                <a:cubicBezTo>
                  <a:pt x="35" y="39"/>
                  <a:pt x="35" y="39"/>
                  <a:pt x="34" y="39"/>
                </a:cubicBezTo>
                <a:cubicBezTo>
                  <a:pt x="31" y="38"/>
                  <a:pt x="27" y="37"/>
                  <a:pt x="24" y="36"/>
                </a:cubicBezTo>
                <a:cubicBezTo>
                  <a:pt x="24" y="36"/>
                  <a:pt x="24" y="36"/>
                  <a:pt x="23" y="36"/>
                </a:cubicBezTo>
                <a:close/>
                <a:moveTo>
                  <a:pt x="166" y="36"/>
                </a:moveTo>
                <a:cubicBezTo>
                  <a:pt x="162" y="37"/>
                  <a:pt x="159" y="38"/>
                  <a:pt x="155" y="39"/>
                </a:cubicBezTo>
                <a:cubicBezTo>
                  <a:pt x="154" y="39"/>
                  <a:pt x="154" y="39"/>
                  <a:pt x="154" y="40"/>
                </a:cubicBezTo>
                <a:cubicBezTo>
                  <a:pt x="154" y="57"/>
                  <a:pt x="154" y="57"/>
                  <a:pt x="154" y="57"/>
                </a:cubicBezTo>
                <a:cubicBezTo>
                  <a:pt x="154" y="58"/>
                  <a:pt x="154" y="58"/>
                  <a:pt x="155" y="58"/>
                </a:cubicBezTo>
                <a:cubicBezTo>
                  <a:pt x="155" y="58"/>
                  <a:pt x="155" y="58"/>
                  <a:pt x="155" y="58"/>
                </a:cubicBezTo>
                <a:cubicBezTo>
                  <a:pt x="155" y="58"/>
                  <a:pt x="155" y="58"/>
                  <a:pt x="155" y="58"/>
                </a:cubicBezTo>
                <a:cubicBezTo>
                  <a:pt x="159" y="58"/>
                  <a:pt x="163" y="57"/>
                  <a:pt x="166" y="56"/>
                </a:cubicBezTo>
                <a:cubicBezTo>
                  <a:pt x="167" y="56"/>
                  <a:pt x="167" y="55"/>
                  <a:pt x="167" y="55"/>
                </a:cubicBezTo>
                <a:cubicBezTo>
                  <a:pt x="167" y="38"/>
                  <a:pt x="167" y="38"/>
                  <a:pt x="167" y="38"/>
                </a:cubicBezTo>
                <a:cubicBezTo>
                  <a:pt x="167" y="37"/>
                  <a:pt x="167" y="37"/>
                  <a:pt x="167" y="37"/>
                </a:cubicBezTo>
                <a:cubicBezTo>
                  <a:pt x="166" y="36"/>
                  <a:pt x="166" y="36"/>
                  <a:pt x="166" y="36"/>
                </a:cubicBezTo>
                <a:cubicBezTo>
                  <a:pt x="166" y="36"/>
                  <a:pt x="166" y="36"/>
                  <a:pt x="166" y="36"/>
                </a:cubicBezTo>
                <a:close/>
                <a:moveTo>
                  <a:pt x="6" y="29"/>
                </a:moveTo>
                <a:cubicBezTo>
                  <a:pt x="5" y="29"/>
                  <a:pt x="5" y="29"/>
                  <a:pt x="5" y="29"/>
                </a:cubicBezTo>
                <a:cubicBezTo>
                  <a:pt x="5" y="30"/>
                  <a:pt x="5" y="30"/>
                  <a:pt x="5" y="30"/>
                </a:cubicBezTo>
                <a:cubicBezTo>
                  <a:pt x="5" y="45"/>
                  <a:pt x="5" y="45"/>
                  <a:pt x="5" y="45"/>
                </a:cubicBezTo>
                <a:cubicBezTo>
                  <a:pt x="5" y="48"/>
                  <a:pt x="8" y="51"/>
                  <a:pt x="16" y="53"/>
                </a:cubicBezTo>
                <a:cubicBezTo>
                  <a:pt x="16" y="53"/>
                  <a:pt x="16" y="53"/>
                  <a:pt x="16" y="53"/>
                </a:cubicBezTo>
                <a:cubicBezTo>
                  <a:pt x="17" y="53"/>
                  <a:pt x="17" y="53"/>
                  <a:pt x="17" y="53"/>
                </a:cubicBezTo>
                <a:cubicBezTo>
                  <a:pt x="17" y="53"/>
                  <a:pt x="17" y="53"/>
                  <a:pt x="17" y="52"/>
                </a:cubicBezTo>
                <a:cubicBezTo>
                  <a:pt x="17" y="35"/>
                  <a:pt x="17" y="35"/>
                  <a:pt x="17" y="35"/>
                </a:cubicBezTo>
                <a:cubicBezTo>
                  <a:pt x="17" y="35"/>
                  <a:pt x="17" y="34"/>
                  <a:pt x="17" y="34"/>
                </a:cubicBezTo>
                <a:cubicBezTo>
                  <a:pt x="12" y="33"/>
                  <a:pt x="9" y="31"/>
                  <a:pt x="6" y="30"/>
                </a:cubicBezTo>
                <a:cubicBezTo>
                  <a:pt x="6" y="29"/>
                  <a:pt x="6" y="29"/>
                  <a:pt x="6" y="29"/>
                </a:cubicBezTo>
                <a:close/>
                <a:moveTo>
                  <a:pt x="184" y="29"/>
                </a:moveTo>
                <a:cubicBezTo>
                  <a:pt x="183" y="29"/>
                  <a:pt x="183" y="29"/>
                  <a:pt x="183" y="30"/>
                </a:cubicBezTo>
                <a:cubicBezTo>
                  <a:pt x="180" y="31"/>
                  <a:pt x="177" y="33"/>
                  <a:pt x="173" y="34"/>
                </a:cubicBezTo>
                <a:cubicBezTo>
                  <a:pt x="172" y="34"/>
                  <a:pt x="172" y="35"/>
                  <a:pt x="172" y="35"/>
                </a:cubicBezTo>
                <a:cubicBezTo>
                  <a:pt x="172" y="52"/>
                  <a:pt x="172" y="52"/>
                  <a:pt x="172" y="52"/>
                </a:cubicBezTo>
                <a:cubicBezTo>
                  <a:pt x="172" y="53"/>
                  <a:pt x="172" y="53"/>
                  <a:pt x="172" y="53"/>
                </a:cubicBezTo>
                <a:cubicBezTo>
                  <a:pt x="173" y="53"/>
                  <a:pt x="173" y="53"/>
                  <a:pt x="173" y="53"/>
                </a:cubicBezTo>
                <a:cubicBezTo>
                  <a:pt x="173" y="53"/>
                  <a:pt x="173" y="53"/>
                  <a:pt x="173" y="53"/>
                </a:cubicBezTo>
                <a:cubicBezTo>
                  <a:pt x="177" y="52"/>
                  <a:pt x="180" y="50"/>
                  <a:pt x="182" y="49"/>
                </a:cubicBezTo>
                <a:cubicBezTo>
                  <a:pt x="183" y="48"/>
                  <a:pt x="183" y="48"/>
                  <a:pt x="183" y="48"/>
                </a:cubicBezTo>
                <a:cubicBezTo>
                  <a:pt x="183" y="48"/>
                  <a:pt x="184" y="48"/>
                  <a:pt x="184" y="48"/>
                </a:cubicBezTo>
                <a:cubicBezTo>
                  <a:pt x="184" y="47"/>
                  <a:pt x="185" y="46"/>
                  <a:pt x="185" y="45"/>
                </a:cubicBezTo>
                <a:cubicBezTo>
                  <a:pt x="185" y="30"/>
                  <a:pt x="185" y="30"/>
                  <a:pt x="185" y="30"/>
                </a:cubicBezTo>
                <a:cubicBezTo>
                  <a:pt x="185" y="30"/>
                  <a:pt x="185" y="30"/>
                  <a:pt x="184" y="29"/>
                </a:cubicBezTo>
                <a:cubicBezTo>
                  <a:pt x="184" y="29"/>
                  <a:pt x="184" y="29"/>
                  <a:pt x="184" y="29"/>
                </a:cubicBezTo>
                <a:close/>
                <a:moveTo>
                  <a:pt x="95" y="5"/>
                </a:moveTo>
                <a:cubicBezTo>
                  <a:pt x="37" y="5"/>
                  <a:pt x="5" y="14"/>
                  <a:pt x="5" y="20"/>
                </a:cubicBezTo>
                <a:cubicBezTo>
                  <a:pt x="5" y="25"/>
                  <a:pt x="14" y="28"/>
                  <a:pt x="21" y="30"/>
                </a:cubicBezTo>
                <a:cubicBezTo>
                  <a:pt x="30" y="33"/>
                  <a:pt x="48" y="37"/>
                  <a:pt x="79" y="39"/>
                </a:cubicBezTo>
                <a:cubicBezTo>
                  <a:pt x="82" y="39"/>
                  <a:pt x="82" y="39"/>
                  <a:pt x="82" y="39"/>
                </a:cubicBezTo>
                <a:cubicBezTo>
                  <a:pt x="83" y="39"/>
                  <a:pt x="85" y="39"/>
                  <a:pt x="86" y="39"/>
                </a:cubicBezTo>
                <a:cubicBezTo>
                  <a:pt x="89" y="39"/>
                  <a:pt x="92" y="39"/>
                  <a:pt x="95" y="39"/>
                </a:cubicBezTo>
                <a:cubicBezTo>
                  <a:pt x="98" y="39"/>
                  <a:pt x="101" y="39"/>
                  <a:pt x="104" y="39"/>
                </a:cubicBezTo>
                <a:cubicBezTo>
                  <a:pt x="105" y="39"/>
                  <a:pt x="106" y="39"/>
                  <a:pt x="107" y="39"/>
                </a:cubicBezTo>
                <a:cubicBezTo>
                  <a:pt x="111" y="39"/>
                  <a:pt x="111" y="39"/>
                  <a:pt x="111" y="39"/>
                </a:cubicBezTo>
                <a:cubicBezTo>
                  <a:pt x="141" y="37"/>
                  <a:pt x="160" y="33"/>
                  <a:pt x="168" y="30"/>
                </a:cubicBezTo>
                <a:cubicBezTo>
                  <a:pt x="174" y="28"/>
                  <a:pt x="184" y="25"/>
                  <a:pt x="185" y="21"/>
                </a:cubicBezTo>
                <a:cubicBezTo>
                  <a:pt x="184" y="14"/>
                  <a:pt x="152" y="5"/>
                  <a:pt x="95" y="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j-lt"/>
            </a:endParaRPr>
          </a:p>
        </p:txBody>
      </p:sp>
      <p:pic>
        <p:nvPicPr>
          <p:cNvPr id="10" name="Graphic 9" descr="Lightbulb">
            <a:extLst>
              <a:ext uri="{FF2B5EF4-FFF2-40B4-BE49-F238E27FC236}">
                <a16:creationId xmlns:a16="http://schemas.microsoft.com/office/drawing/2014/main" id="{45DBC06F-176F-4261-A500-19DABE24F03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485925" y="1764506"/>
            <a:ext cx="584294" cy="584294"/>
          </a:xfrm>
          <a:prstGeom prst="rect">
            <a:avLst/>
          </a:prstGeom>
        </p:spPr>
      </p:pic>
      <p:pic>
        <p:nvPicPr>
          <p:cNvPr id="12" name="Graphic 11" descr="Wreath">
            <a:extLst>
              <a:ext uri="{FF2B5EF4-FFF2-40B4-BE49-F238E27FC236}">
                <a16:creationId xmlns:a16="http://schemas.microsoft.com/office/drawing/2014/main" id="{63AD430D-38B3-4BBC-8996-7F783C6D231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068479" y="1645348"/>
            <a:ext cx="797348" cy="797348"/>
          </a:xfrm>
          <a:prstGeom prst="rect">
            <a:avLst/>
          </a:prstGeom>
        </p:spPr>
      </p:pic>
      <p:sp>
        <p:nvSpPr>
          <p:cNvPr id="29" name="Titre 5">
            <a:extLst>
              <a:ext uri="{FF2B5EF4-FFF2-40B4-BE49-F238E27FC236}">
                <a16:creationId xmlns:a16="http://schemas.microsoft.com/office/drawing/2014/main" id="{1D8D2DC1-5604-484A-A675-29C2EB82D925}"/>
              </a:ext>
            </a:extLst>
          </p:cNvPr>
          <p:cNvSpPr txBox="1">
            <a:spLocks/>
          </p:cNvSpPr>
          <p:nvPr/>
        </p:nvSpPr>
        <p:spPr>
          <a:xfrm>
            <a:off x="888790" y="569274"/>
            <a:ext cx="11042541" cy="856405"/>
          </a:xfrm>
          <a:prstGeom prst="rect">
            <a:avLst/>
          </a:prstGeom>
        </p:spPr>
        <p:txBody>
          <a:bodyPr vert="horz" lIns="0" tIns="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defRPr/>
            </a:pPr>
            <a:r>
              <a:rPr lang="en-US" dirty="0"/>
              <a:t>What’s in it for business partners</a:t>
            </a:r>
          </a:p>
        </p:txBody>
      </p:sp>
    </p:spTree>
    <p:extLst>
      <p:ext uri="{BB962C8B-B14F-4D97-AF65-F5344CB8AC3E}">
        <p14:creationId xmlns:p14="http://schemas.microsoft.com/office/powerpoint/2010/main" val="17263213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Flowchart: Connector 127">
            <a:extLst>
              <a:ext uri="{FF2B5EF4-FFF2-40B4-BE49-F238E27FC236}">
                <a16:creationId xmlns:a16="http://schemas.microsoft.com/office/drawing/2014/main" id="{5291E72A-4C5D-4F04-B3FC-B1C99FA4A83B}"/>
              </a:ext>
            </a:extLst>
          </p:cNvPr>
          <p:cNvSpPr/>
          <p:nvPr/>
        </p:nvSpPr>
        <p:spPr>
          <a:xfrm>
            <a:off x="5562843" y="1566249"/>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Montserrat"/>
              <a:ea typeface="+mn-ea"/>
              <a:cs typeface="+mn-cs"/>
            </a:endParaRPr>
          </a:p>
        </p:txBody>
      </p:sp>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36"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sym typeface="Montserrat" panose="00000500000000000000" pitchFamily="2" charset="0"/>
            </a:endParaRPr>
          </a:p>
        </p:txBody>
      </p:sp>
      <p:sp>
        <p:nvSpPr>
          <p:cNvPr id="13" name="Espace réservé du numéro de diapositive 4">
            <a:extLst>
              <a:ext uri="{FF2B5EF4-FFF2-40B4-BE49-F238E27FC236}">
                <a16:creationId xmlns:a16="http://schemas.microsoft.com/office/drawing/2014/main" id="{E790D2E0-0F21-4621-8F06-C8A4B08D1CBE}"/>
              </a:ext>
            </a:extLst>
          </p:cNvPr>
          <p:cNvSpPr>
            <a:spLocks noGrp="1"/>
          </p:cNvSpPr>
          <p:nvPr>
            <p:ph type="sldNum" sz="quarter" idx="12"/>
          </p:nvPr>
        </p:nvSpPr>
        <p:spPr>
          <a:xfrm>
            <a:off x="11620500" y="6426200"/>
            <a:ext cx="350520" cy="24384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C5DC16-0D22-4C7F-9249-BF4D2D91D79F}" type="slidenum">
              <a:rPr kumimoji="0" lang="en-US" sz="1050" b="0" i="0" u="none" strike="noStrike" kern="1200" cap="none" spc="0" normalizeH="0" baseline="0" noProof="0" smtClean="0">
                <a:ln>
                  <a:noFill/>
                </a:ln>
                <a:solidFill>
                  <a:prstClr val="white">
                    <a:lumMod val="50000"/>
                  </a:prstClr>
                </a:solidFill>
                <a:effectLst/>
                <a:uLnTx/>
                <a:uFillTx/>
                <a:latin typeface="Montserrat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50" b="0" i="0" u="none" strike="noStrike" kern="1200" cap="none" spc="0" normalizeH="0" baseline="0" noProof="0" dirty="0">
              <a:ln>
                <a:noFill/>
              </a:ln>
              <a:solidFill>
                <a:prstClr val="white">
                  <a:lumMod val="50000"/>
                </a:prstClr>
              </a:solidFill>
              <a:effectLst/>
              <a:uLnTx/>
              <a:uFillTx/>
              <a:latin typeface="Montserrat SemiBold"/>
              <a:ea typeface="+mn-ea"/>
              <a:cs typeface="+mn-cs"/>
            </a:endParaRPr>
          </a:p>
        </p:txBody>
      </p:sp>
      <p:sp>
        <p:nvSpPr>
          <p:cNvPr id="8" name="Titre 5">
            <a:extLst>
              <a:ext uri="{FF2B5EF4-FFF2-40B4-BE49-F238E27FC236}">
                <a16:creationId xmlns:a16="http://schemas.microsoft.com/office/drawing/2014/main" id="{8AE33944-45A3-415C-9EBA-293C9717DF33}"/>
              </a:ext>
            </a:extLst>
          </p:cNvPr>
          <p:cNvSpPr txBox="1">
            <a:spLocks/>
          </p:cNvSpPr>
          <p:nvPr/>
        </p:nvSpPr>
        <p:spPr>
          <a:xfrm>
            <a:off x="888790" y="569274"/>
            <a:ext cx="11042541" cy="856405"/>
          </a:xfrm>
          <a:prstGeom prst="rect">
            <a:avLst/>
          </a:prstGeom>
        </p:spPr>
        <p:txBody>
          <a:bodyPr vert="horz" lIns="0" tIns="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33008E"/>
                </a:solidFill>
                <a:effectLst/>
                <a:uLnTx/>
                <a:uFillTx/>
                <a:latin typeface="Montserrat"/>
                <a:ea typeface="+mj-ea"/>
                <a:cs typeface="+mj-cs"/>
              </a:rPr>
              <a:t>FAQs</a:t>
            </a:r>
          </a:p>
        </p:txBody>
      </p:sp>
      <p:sp>
        <p:nvSpPr>
          <p:cNvPr id="18" name="Subtitle 2">
            <a:extLst>
              <a:ext uri="{FF2B5EF4-FFF2-40B4-BE49-F238E27FC236}">
                <a16:creationId xmlns:a16="http://schemas.microsoft.com/office/drawing/2014/main" id="{FD48FD3C-8269-4C1D-82FB-432A4C1E0B1C}"/>
              </a:ext>
            </a:extLst>
          </p:cNvPr>
          <p:cNvSpPr txBox="1">
            <a:spLocks/>
          </p:cNvSpPr>
          <p:nvPr/>
        </p:nvSpPr>
        <p:spPr>
          <a:xfrm>
            <a:off x="643211" y="288108"/>
            <a:ext cx="8297321" cy="933605"/>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4800" b="0" i="0" u="none" strike="noStrike" kern="1200" cap="none" spc="0" normalizeH="0" baseline="0" noProof="0" dirty="0">
                <a:ln>
                  <a:noFill/>
                </a:ln>
                <a:solidFill>
                  <a:srgbClr val="FF0000"/>
                </a:solidFill>
                <a:effectLst/>
                <a:uLnTx/>
                <a:uFillTx/>
                <a:latin typeface="Montserrat SemiBold"/>
                <a:ea typeface="+mn-ea"/>
                <a:cs typeface="+mn-cs"/>
              </a:rPr>
              <a:t> </a:t>
            </a:r>
          </a:p>
        </p:txBody>
      </p:sp>
      <p:sp>
        <p:nvSpPr>
          <p:cNvPr id="108" name="TextBox 107">
            <a:extLst>
              <a:ext uri="{FF2B5EF4-FFF2-40B4-BE49-F238E27FC236}">
                <a16:creationId xmlns:a16="http://schemas.microsoft.com/office/drawing/2014/main" id="{B64B5617-C640-4789-9C9C-F60FCD0412E7}"/>
              </a:ext>
            </a:extLst>
          </p:cNvPr>
          <p:cNvSpPr txBox="1"/>
          <p:nvPr/>
        </p:nvSpPr>
        <p:spPr>
          <a:xfrm>
            <a:off x="941561" y="2701587"/>
            <a:ext cx="3353761" cy="2451735"/>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Montserrat"/>
                <a:ea typeface="+mn-ea"/>
                <a:cs typeface="+mn-cs"/>
              </a:rPr>
              <a:t>Deal siz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Montserrat"/>
                <a:ea typeface="+mn-ea"/>
                <a:cs typeface="+mn-cs"/>
              </a:rPr>
              <a:t>Minimum of £100,000</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sp>
        <p:nvSpPr>
          <p:cNvPr id="109" name="Flowchart: Connector 108">
            <a:extLst>
              <a:ext uri="{FF2B5EF4-FFF2-40B4-BE49-F238E27FC236}">
                <a16:creationId xmlns:a16="http://schemas.microsoft.com/office/drawing/2014/main" id="{0229B08C-41B8-4E9F-9605-41F440DC5DC4}"/>
              </a:ext>
            </a:extLst>
          </p:cNvPr>
          <p:cNvSpPr/>
          <p:nvPr/>
        </p:nvSpPr>
        <p:spPr>
          <a:xfrm>
            <a:off x="2097504" y="1536714"/>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Montserrat"/>
              <a:ea typeface="+mn-ea"/>
              <a:cs typeface="+mn-cs"/>
            </a:endParaRPr>
          </a:p>
        </p:txBody>
      </p:sp>
      <p:sp>
        <p:nvSpPr>
          <p:cNvPr id="110" name="TextBox 109">
            <a:extLst>
              <a:ext uri="{FF2B5EF4-FFF2-40B4-BE49-F238E27FC236}">
                <a16:creationId xmlns:a16="http://schemas.microsoft.com/office/drawing/2014/main" id="{FDD896C9-52F0-47D2-932E-88097E34BADE}"/>
              </a:ext>
            </a:extLst>
          </p:cNvPr>
          <p:cNvSpPr txBox="1"/>
          <p:nvPr/>
        </p:nvSpPr>
        <p:spPr>
          <a:xfrm>
            <a:off x="4443165" y="2673658"/>
            <a:ext cx="3353761" cy="2451735"/>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b"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Montserrat"/>
                <a:ea typeface="+mn-ea"/>
                <a:cs typeface="+mn-cs"/>
              </a:rPr>
              <a:t>Standard term</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Montserrat"/>
                <a:ea typeface="+mn-ea"/>
                <a:cs typeface="+mn-cs"/>
              </a:rPr>
              <a:t>3-5 year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grpSp>
        <p:nvGrpSpPr>
          <p:cNvPr id="111" name="Groupe 716">
            <a:extLst>
              <a:ext uri="{FF2B5EF4-FFF2-40B4-BE49-F238E27FC236}">
                <a16:creationId xmlns:a16="http://schemas.microsoft.com/office/drawing/2014/main" id="{1312E2A3-696D-421B-A015-8E83236FCA79}"/>
              </a:ext>
            </a:extLst>
          </p:cNvPr>
          <p:cNvGrpSpPr/>
          <p:nvPr/>
        </p:nvGrpSpPr>
        <p:grpSpPr>
          <a:xfrm>
            <a:off x="5714164" y="1793021"/>
            <a:ext cx="520205" cy="527346"/>
            <a:chOff x="8810632" y="8632825"/>
            <a:chExt cx="787400" cy="719138"/>
          </a:xfrm>
          <a:solidFill>
            <a:srgbClr val="573EEF"/>
          </a:solidFill>
        </p:grpSpPr>
        <p:grpSp>
          <p:nvGrpSpPr>
            <p:cNvPr id="112" name="Group 288">
              <a:extLst>
                <a:ext uri="{FF2B5EF4-FFF2-40B4-BE49-F238E27FC236}">
                  <a16:creationId xmlns:a16="http://schemas.microsoft.com/office/drawing/2014/main" id="{DEEBAB42-FF17-4A88-BB8B-4BAC657D9C96}"/>
                </a:ext>
              </a:extLst>
            </p:cNvPr>
            <p:cNvGrpSpPr>
              <a:grpSpLocks noChangeAspect="1"/>
            </p:cNvGrpSpPr>
            <p:nvPr/>
          </p:nvGrpSpPr>
          <p:grpSpPr bwMode="auto">
            <a:xfrm>
              <a:off x="8888413" y="8632825"/>
              <a:ext cx="606425" cy="625475"/>
              <a:chOff x="5599" y="5438"/>
              <a:chExt cx="382" cy="394"/>
            </a:xfrm>
            <a:grpFill/>
          </p:grpSpPr>
          <p:sp>
            <p:nvSpPr>
              <p:cNvPr id="114" name="Freeform 290">
                <a:extLst>
                  <a:ext uri="{FF2B5EF4-FFF2-40B4-BE49-F238E27FC236}">
                    <a16:creationId xmlns:a16="http://schemas.microsoft.com/office/drawing/2014/main" id="{2E553C85-A9F8-4DCF-B7C1-43AAAB9CF1B3}"/>
                  </a:ext>
                </a:extLst>
              </p:cNvPr>
              <p:cNvSpPr>
                <a:spLocks noEditPoints="1"/>
              </p:cNvSpPr>
              <p:nvPr/>
            </p:nvSpPr>
            <p:spPr bwMode="auto">
              <a:xfrm>
                <a:off x="5599" y="5590"/>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7" y="0"/>
                      <a:pt x="39" y="2"/>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sp>
            <p:nvSpPr>
              <p:cNvPr id="115" name="Freeform 291">
                <a:extLst>
                  <a:ext uri="{FF2B5EF4-FFF2-40B4-BE49-F238E27FC236}">
                    <a16:creationId xmlns:a16="http://schemas.microsoft.com/office/drawing/2014/main" id="{33BC82FC-8760-4A17-B070-9AFD001186D6}"/>
                  </a:ext>
                </a:extLst>
              </p:cNvPr>
              <p:cNvSpPr>
                <a:spLocks noEditPoints="1"/>
              </p:cNvSpPr>
              <p:nvPr/>
            </p:nvSpPr>
            <p:spPr bwMode="auto">
              <a:xfrm>
                <a:off x="5737" y="5590"/>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7" y="0"/>
                      <a:pt x="39" y="2"/>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sp>
            <p:nvSpPr>
              <p:cNvPr id="116" name="Freeform 292">
                <a:extLst>
                  <a:ext uri="{FF2B5EF4-FFF2-40B4-BE49-F238E27FC236}">
                    <a16:creationId xmlns:a16="http://schemas.microsoft.com/office/drawing/2014/main" id="{CB904D9A-8E3D-4359-9757-ECF32F4386FE}"/>
                  </a:ext>
                </a:extLst>
              </p:cNvPr>
              <p:cNvSpPr>
                <a:spLocks noEditPoints="1"/>
              </p:cNvSpPr>
              <p:nvPr/>
            </p:nvSpPr>
            <p:spPr bwMode="auto">
              <a:xfrm>
                <a:off x="5875" y="5590"/>
                <a:ext cx="106"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2"/>
                      <a:pt x="1" y="0"/>
                      <a:pt x="3" y="0"/>
                    </a:cubicBezTo>
                    <a:cubicBezTo>
                      <a:pt x="36" y="0"/>
                      <a:pt x="36" y="0"/>
                      <a:pt x="36" y="0"/>
                    </a:cubicBezTo>
                    <a:cubicBezTo>
                      <a:pt x="38" y="0"/>
                      <a:pt x="39" y="2"/>
                      <a:pt x="39" y="3"/>
                    </a:cubicBezTo>
                    <a:cubicBezTo>
                      <a:pt x="39" y="36"/>
                      <a:pt x="39" y="36"/>
                      <a:pt x="39" y="36"/>
                    </a:cubicBezTo>
                    <a:cubicBezTo>
                      <a:pt x="39" y="38"/>
                      <a:pt x="38"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sp>
            <p:nvSpPr>
              <p:cNvPr id="117" name="Freeform 293">
                <a:extLst>
                  <a:ext uri="{FF2B5EF4-FFF2-40B4-BE49-F238E27FC236}">
                    <a16:creationId xmlns:a16="http://schemas.microsoft.com/office/drawing/2014/main" id="{23F2BE6A-4EBF-4FAF-8D3D-3691E8B712BC}"/>
                  </a:ext>
                </a:extLst>
              </p:cNvPr>
              <p:cNvSpPr>
                <a:spLocks noEditPoints="1"/>
              </p:cNvSpPr>
              <p:nvPr/>
            </p:nvSpPr>
            <p:spPr bwMode="auto">
              <a:xfrm>
                <a:off x="5875" y="5726"/>
                <a:ext cx="106"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8" y="0"/>
                      <a:pt x="39" y="1"/>
                      <a:pt x="39" y="3"/>
                    </a:cubicBezTo>
                    <a:cubicBezTo>
                      <a:pt x="39" y="36"/>
                      <a:pt x="39" y="36"/>
                      <a:pt x="39" y="36"/>
                    </a:cubicBezTo>
                    <a:cubicBezTo>
                      <a:pt x="39" y="38"/>
                      <a:pt x="38"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sp>
            <p:nvSpPr>
              <p:cNvPr id="118" name="Freeform 294">
                <a:extLst>
                  <a:ext uri="{FF2B5EF4-FFF2-40B4-BE49-F238E27FC236}">
                    <a16:creationId xmlns:a16="http://schemas.microsoft.com/office/drawing/2014/main" id="{8B1F8E5B-FF2E-41B5-9378-704C4FBF49B5}"/>
                  </a:ext>
                </a:extLst>
              </p:cNvPr>
              <p:cNvSpPr>
                <a:spLocks noEditPoints="1"/>
              </p:cNvSpPr>
              <p:nvPr/>
            </p:nvSpPr>
            <p:spPr bwMode="auto">
              <a:xfrm>
                <a:off x="5599" y="5726"/>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7" y="0"/>
                      <a:pt x="39" y="1"/>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sp>
            <p:nvSpPr>
              <p:cNvPr id="119" name="Freeform 295">
                <a:extLst>
                  <a:ext uri="{FF2B5EF4-FFF2-40B4-BE49-F238E27FC236}">
                    <a16:creationId xmlns:a16="http://schemas.microsoft.com/office/drawing/2014/main" id="{03A14095-8E23-4877-A71B-2EDBCEFB058D}"/>
                  </a:ext>
                </a:extLst>
              </p:cNvPr>
              <p:cNvSpPr>
                <a:spLocks noEditPoints="1"/>
              </p:cNvSpPr>
              <p:nvPr/>
            </p:nvSpPr>
            <p:spPr bwMode="auto">
              <a:xfrm>
                <a:off x="5737" y="5726"/>
                <a:ext cx="105" cy="106"/>
              </a:xfrm>
              <a:custGeom>
                <a:avLst/>
                <a:gdLst>
                  <a:gd name="T0" fmla="*/ 36 w 39"/>
                  <a:gd name="T1" fmla="*/ 39 h 39"/>
                  <a:gd name="T2" fmla="*/ 3 w 39"/>
                  <a:gd name="T3" fmla="*/ 39 h 39"/>
                  <a:gd name="T4" fmla="*/ 0 w 39"/>
                  <a:gd name="T5" fmla="*/ 36 h 39"/>
                  <a:gd name="T6" fmla="*/ 0 w 39"/>
                  <a:gd name="T7" fmla="*/ 3 h 39"/>
                  <a:gd name="T8" fmla="*/ 3 w 39"/>
                  <a:gd name="T9" fmla="*/ 0 h 39"/>
                  <a:gd name="T10" fmla="*/ 36 w 39"/>
                  <a:gd name="T11" fmla="*/ 0 h 39"/>
                  <a:gd name="T12" fmla="*/ 39 w 39"/>
                  <a:gd name="T13" fmla="*/ 3 h 39"/>
                  <a:gd name="T14" fmla="*/ 39 w 39"/>
                  <a:gd name="T15" fmla="*/ 36 h 39"/>
                  <a:gd name="T16" fmla="*/ 36 w 39"/>
                  <a:gd name="T17" fmla="*/ 39 h 39"/>
                  <a:gd name="T18" fmla="*/ 6 w 39"/>
                  <a:gd name="T19" fmla="*/ 33 h 39"/>
                  <a:gd name="T20" fmla="*/ 33 w 39"/>
                  <a:gd name="T21" fmla="*/ 33 h 39"/>
                  <a:gd name="T22" fmla="*/ 33 w 39"/>
                  <a:gd name="T23" fmla="*/ 6 h 39"/>
                  <a:gd name="T24" fmla="*/ 6 w 39"/>
                  <a:gd name="T25" fmla="*/ 6 h 39"/>
                  <a:gd name="T26" fmla="*/ 6 w 39"/>
                  <a:gd name="T2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36" y="39"/>
                    </a:moveTo>
                    <a:cubicBezTo>
                      <a:pt x="3" y="39"/>
                      <a:pt x="3" y="39"/>
                      <a:pt x="3" y="39"/>
                    </a:cubicBezTo>
                    <a:cubicBezTo>
                      <a:pt x="1" y="39"/>
                      <a:pt x="0" y="38"/>
                      <a:pt x="0" y="36"/>
                    </a:cubicBezTo>
                    <a:cubicBezTo>
                      <a:pt x="0" y="3"/>
                      <a:pt x="0" y="3"/>
                      <a:pt x="0" y="3"/>
                    </a:cubicBezTo>
                    <a:cubicBezTo>
                      <a:pt x="0" y="1"/>
                      <a:pt x="1" y="0"/>
                      <a:pt x="3" y="0"/>
                    </a:cubicBezTo>
                    <a:cubicBezTo>
                      <a:pt x="36" y="0"/>
                      <a:pt x="36" y="0"/>
                      <a:pt x="36" y="0"/>
                    </a:cubicBezTo>
                    <a:cubicBezTo>
                      <a:pt x="37" y="0"/>
                      <a:pt x="39" y="1"/>
                      <a:pt x="39" y="3"/>
                    </a:cubicBezTo>
                    <a:cubicBezTo>
                      <a:pt x="39" y="36"/>
                      <a:pt x="39" y="36"/>
                      <a:pt x="39" y="36"/>
                    </a:cubicBezTo>
                    <a:cubicBezTo>
                      <a:pt x="39" y="38"/>
                      <a:pt x="37" y="39"/>
                      <a:pt x="36" y="39"/>
                    </a:cubicBezTo>
                    <a:close/>
                    <a:moveTo>
                      <a:pt x="6" y="33"/>
                    </a:moveTo>
                    <a:cubicBezTo>
                      <a:pt x="33" y="33"/>
                      <a:pt x="33" y="33"/>
                      <a:pt x="33" y="33"/>
                    </a:cubicBezTo>
                    <a:cubicBezTo>
                      <a:pt x="33" y="6"/>
                      <a:pt x="33" y="6"/>
                      <a:pt x="33" y="6"/>
                    </a:cubicBezTo>
                    <a:cubicBezTo>
                      <a:pt x="6" y="6"/>
                      <a:pt x="6" y="6"/>
                      <a:pt x="6" y="6"/>
                    </a:cubicBez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sp>
            <p:nvSpPr>
              <p:cNvPr id="120" name="Freeform 296">
                <a:extLst>
                  <a:ext uri="{FF2B5EF4-FFF2-40B4-BE49-F238E27FC236}">
                    <a16:creationId xmlns:a16="http://schemas.microsoft.com/office/drawing/2014/main" id="{3C0B4650-0881-4BD5-A37E-4F86C86964DA}"/>
                  </a:ext>
                </a:extLst>
              </p:cNvPr>
              <p:cNvSpPr>
                <a:spLocks/>
              </p:cNvSpPr>
              <p:nvPr/>
            </p:nvSpPr>
            <p:spPr bwMode="auto">
              <a:xfrm>
                <a:off x="5642" y="5438"/>
                <a:ext cx="16" cy="79"/>
              </a:xfrm>
              <a:custGeom>
                <a:avLst/>
                <a:gdLst>
                  <a:gd name="T0" fmla="*/ 3 w 6"/>
                  <a:gd name="T1" fmla="*/ 29 h 29"/>
                  <a:gd name="T2" fmla="*/ 0 w 6"/>
                  <a:gd name="T3" fmla="*/ 26 h 29"/>
                  <a:gd name="T4" fmla="*/ 0 w 6"/>
                  <a:gd name="T5" fmla="*/ 3 h 29"/>
                  <a:gd name="T6" fmla="*/ 3 w 6"/>
                  <a:gd name="T7" fmla="*/ 0 h 29"/>
                  <a:gd name="T8" fmla="*/ 6 w 6"/>
                  <a:gd name="T9" fmla="*/ 3 h 29"/>
                  <a:gd name="T10" fmla="*/ 6 w 6"/>
                  <a:gd name="T11" fmla="*/ 26 h 29"/>
                  <a:gd name="T12" fmla="*/ 3 w 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6" h="29">
                    <a:moveTo>
                      <a:pt x="3" y="29"/>
                    </a:moveTo>
                    <a:cubicBezTo>
                      <a:pt x="1" y="29"/>
                      <a:pt x="0" y="28"/>
                      <a:pt x="0" y="26"/>
                    </a:cubicBezTo>
                    <a:cubicBezTo>
                      <a:pt x="0" y="3"/>
                      <a:pt x="0" y="3"/>
                      <a:pt x="0" y="3"/>
                    </a:cubicBezTo>
                    <a:cubicBezTo>
                      <a:pt x="0" y="2"/>
                      <a:pt x="1" y="0"/>
                      <a:pt x="3" y="0"/>
                    </a:cubicBezTo>
                    <a:cubicBezTo>
                      <a:pt x="5" y="0"/>
                      <a:pt x="6" y="2"/>
                      <a:pt x="6" y="3"/>
                    </a:cubicBezTo>
                    <a:cubicBezTo>
                      <a:pt x="6" y="26"/>
                      <a:pt x="6" y="26"/>
                      <a:pt x="6" y="26"/>
                    </a:cubicBezTo>
                    <a:cubicBezTo>
                      <a:pt x="6" y="28"/>
                      <a:pt x="5" y="29"/>
                      <a:pt x="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sp>
            <p:nvSpPr>
              <p:cNvPr id="121" name="Freeform 297">
                <a:extLst>
                  <a:ext uri="{FF2B5EF4-FFF2-40B4-BE49-F238E27FC236}">
                    <a16:creationId xmlns:a16="http://schemas.microsoft.com/office/drawing/2014/main" id="{6B1195D1-1468-4AB6-9436-86AC751654FF}"/>
                  </a:ext>
                </a:extLst>
              </p:cNvPr>
              <p:cNvSpPr>
                <a:spLocks/>
              </p:cNvSpPr>
              <p:nvPr/>
            </p:nvSpPr>
            <p:spPr bwMode="auto">
              <a:xfrm>
                <a:off x="5921" y="5438"/>
                <a:ext cx="16" cy="79"/>
              </a:xfrm>
              <a:custGeom>
                <a:avLst/>
                <a:gdLst>
                  <a:gd name="T0" fmla="*/ 3 w 6"/>
                  <a:gd name="T1" fmla="*/ 29 h 29"/>
                  <a:gd name="T2" fmla="*/ 0 w 6"/>
                  <a:gd name="T3" fmla="*/ 26 h 29"/>
                  <a:gd name="T4" fmla="*/ 0 w 6"/>
                  <a:gd name="T5" fmla="*/ 3 h 29"/>
                  <a:gd name="T6" fmla="*/ 3 w 6"/>
                  <a:gd name="T7" fmla="*/ 0 h 29"/>
                  <a:gd name="T8" fmla="*/ 6 w 6"/>
                  <a:gd name="T9" fmla="*/ 3 h 29"/>
                  <a:gd name="T10" fmla="*/ 6 w 6"/>
                  <a:gd name="T11" fmla="*/ 26 h 29"/>
                  <a:gd name="T12" fmla="*/ 3 w 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6" h="29">
                    <a:moveTo>
                      <a:pt x="3" y="29"/>
                    </a:moveTo>
                    <a:cubicBezTo>
                      <a:pt x="1" y="29"/>
                      <a:pt x="0" y="28"/>
                      <a:pt x="0" y="26"/>
                    </a:cubicBezTo>
                    <a:cubicBezTo>
                      <a:pt x="0" y="3"/>
                      <a:pt x="0" y="3"/>
                      <a:pt x="0" y="3"/>
                    </a:cubicBezTo>
                    <a:cubicBezTo>
                      <a:pt x="0" y="2"/>
                      <a:pt x="1" y="0"/>
                      <a:pt x="3" y="0"/>
                    </a:cubicBezTo>
                    <a:cubicBezTo>
                      <a:pt x="4" y="0"/>
                      <a:pt x="6" y="2"/>
                      <a:pt x="6" y="3"/>
                    </a:cubicBezTo>
                    <a:cubicBezTo>
                      <a:pt x="6" y="26"/>
                      <a:pt x="6" y="26"/>
                      <a:pt x="6" y="26"/>
                    </a:cubicBezTo>
                    <a:cubicBezTo>
                      <a:pt x="6" y="28"/>
                      <a:pt x="4" y="29"/>
                      <a:pt x="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grpSp>
        <p:sp>
          <p:nvSpPr>
            <p:cNvPr id="113" name="Freeform 289">
              <a:extLst>
                <a:ext uri="{FF2B5EF4-FFF2-40B4-BE49-F238E27FC236}">
                  <a16:creationId xmlns:a16="http://schemas.microsoft.com/office/drawing/2014/main" id="{8A2CFBC5-9DC7-4C3C-AD9E-19A1EFE20259}"/>
                </a:ext>
              </a:extLst>
            </p:cNvPr>
            <p:cNvSpPr>
              <a:spLocks noEditPoints="1"/>
            </p:cNvSpPr>
            <p:nvPr/>
          </p:nvSpPr>
          <p:spPr bwMode="auto">
            <a:xfrm>
              <a:off x="8810632" y="8693150"/>
              <a:ext cx="787400" cy="658813"/>
            </a:xfrm>
            <a:custGeom>
              <a:avLst/>
              <a:gdLst>
                <a:gd name="T0" fmla="*/ 176 w 183"/>
                <a:gd name="T1" fmla="*/ 153 h 153"/>
                <a:gd name="T2" fmla="*/ 7 w 183"/>
                <a:gd name="T3" fmla="*/ 153 h 153"/>
                <a:gd name="T4" fmla="*/ 0 w 183"/>
                <a:gd name="T5" fmla="*/ 145 h 153"/>
                <a:gd name="T6" fmla="*/ 0 w 183"/>
                <a:gd name="T7" fmla="*/ 29 h 153"/>
                <a:gd name="T8" fmla="*/ 0 w 183"/>
                <a:gd name="T9" fmla="*/ 28 h 153"/>
                <a:gd name="T10" fmla="*/ 0 w 183"/>
                <a:gd name="T11" fmla="*/ 28 h 153"/>
                <a:gd name="T12" fmla="*/ 0 w 183"/>
                <a:gd name="T13" fmla="*/ 7 h 153"/>
                <a:gd name="T14" fmla="*/ 7 w 183"/>
                <a:gd name="T15" fmla="*/ 0 h 153"/>
                <a:gd name="T16" fmla="*/ 176 w 183"/>
                <a:gd name="T17" fmla="*/ 0 h 153"/>
                <a:gd name="T18" fmla="*/ 183 w 183"/>
                <a:gd name="T19" fmla="*/ 7 h 153"/>
                <a:gd name="T20" fmla="*/ 183 w 183"/>
                <a:gd name="T21" fmla="*/ 28 h 153"/>
                <a:gd name="T22" fmla="*/ 183 w 183"/>
                <a:gd name="T23" fmla="*/ 28 h 153"/>
                <a:gd name="T24" fmla="*/ 183 w 183"/>
                <a:gd name="T25" fmla="*/ 29 h 153"/>
                <a:gd name="T26" fmla="*/ 183 w 183"/>
                <a:gd name="T27" fmla="*/ 145 h 153"/>
                <a:gd name="T28" fmla="*/ 176 w 183"/>
                <a:gd name="T29" fmla="*/ 153 h 153"/>
                <a:gd name="T30" fmla="*/ 6 w 183"/>
                <a:gd name="T31" fmla="*/ 32 h 153"/>
                <a:gd name="T32" fmla="*/ 6 w 183"/>
                <a:gd name="T33" fmla="*/ 145 h 153"/>
                <a:gd name="T34" fmla="*/ 7 w 183"/>
                <a:gd name="T35" fmla="*/ 147 h 153"/>
                <a:gd name="T36" fmla="*/ 176 w 183"/>
                <a:gd name="T37" fmla="*/ 147 h 153"/>
                <a:gd name="T38" fmla="*/ 177 w 183"/>
                <a:gd name="T39" fmla="*/ 145 h 153"/>
                <a:gd name="T40" fmla="*/ 177 w 183"/>
                <a:gd name="T41" fmla="*/ 32 h 153"/>
                <a:gd name="T42" fmla="*/ 6 w 183"/>
                <a:gd name="T43" fmla="*/ 32 h 153"/>
                <a:gd name="T44" fmla="*/ 6 w 183"/>
                <a:gd name="T45" fmla="*/ 25 h 153"/>
                <a:gd name="T46" fmla="*/ 177 w 183"/>
                <a:gd name="T47" fmla="*/ 25 h 153"/>
                <a:gd name="T48" fmla="*/ 177 w 183"/>
                <a:gd name="T49" fmla="*/ 7 h 153"/>
                <a:gd name="T50" fmla="*/ 176 w 183"/>
                <a:gd name="T51" fmla="*/ 6 h 153"/>
                <a:gd name="T52" fmla="*/ 7 w 183"/>
                <a:gd name="T53" fmla="*/ 6 h 153"/>
                <a:gd name="T54" fmla="*/ 6 w 183"/>
                <a:gd name="T55" fmla="*/ 7 h 153"/>
                <a:gd name="T56" fmla="*/ 6 w 183"/>
                <a:gd name="T57" fmla="*/ 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 h="153">
                  <a:moveTo>
                    <a:pt x="176" y="153"/>
                  </a:moveTo>
                  <a:cubicBezTo>
                    <a:pt x="7" y="153"/>
                    <a:pt x="7" y="153"/>
                    <a:pt x="7" y="153"/>
                  </a:cubicBezTo>
                  <a:cubicBezTo>
                    <a:pt x="3" y="153"/>
                    <a:pt x="0" y="149"/>
                    <a:pt x="0" y="145"/>
                  </a:cubicBezTo>
                  <a:cubicBezTo>
                    <a:pt x="0" y="29"/>
                    <a:pt x="0" y="29"/>
                    <a:pt x="0" y="29"/>
                  </a:cubicBezTo>
                  <a:cubicBezTo>
                    <a:pt x="0" y="29"/>
                    <a:pt x="0" y="29"/>
                    <a:pt x="0" y="28"/>
                  </a:cubicBezTo>
                  <a:cubicBezTo>
                    <a:pt x="0" y="28"/>
                    <a:pt x="0" y="28"/>
                    <a:pt x="0" y="28"/>
                  </a:cubicBezTo>
                  <a:cubicBezTo>
                    <a:pt x="0" y="7"/>
                    <a:pt x="0" y="7"/>
                    <a:pt x="0" y="7"/>
                  </a:cubicBezTo>
                  <a:cubicBezTo>
                    <a:pt x="0" y="3"/>
                    <a:pt x="3" y="0"/>
                    <a:pt x="7" y="0"/>
                  </a:cubicBezTo>
                  <a:cubicBezTo>
                    <a:pt x="176" y="0"/>
                    <a:pt x="176" y="0"/>
                    <a:pt x="176" y="0"/>
                  </a:cubicBezTo>
                  <a:cubicBezTo>
                    <a:pt x="180" y="0"/>
                    <a:pt x="183" y="3"/>
                    <a:pt x="183" y="7"/>
                  </a:cubicBezTo>
                  <a:cubicBezTo>
                    <a:pt x="183" y="28"/>
                    <a:pt x="183" y="28"/>
                    <a:pt x="183" y="28"/>
                  </a:cubicBezTo>
                  <a:cubicBezTo>
                    <a:pt x="183" y="28"/>
                    <a:pt x="183" y="28"/>
                    <a:pt x="183" y="28"/>
                  </a:cubicBezTo>
                  <a:cubicBezTo>
                    <a:pt x="183" y="29"/>
                    <a:pt x="183" y="29"/>
                    <a:pt x="183" y="29"/>
                  </a:cubicBezTo>
                  <a:cubicBezTo>
                    <a:pt x="183" y="145"/>
                    <a:pt x="183" y="145"/>
                    <a:pt x="183" y="145"/>
                  </a:cubicBezTo>
                  <a:cubicBezTo>
                    <a:pt x="183" y="149"/>
                    <a:pt x="180" y="153"/>
                    <a:pt x="176" y="153"/>
                  </a:cubicBezTo>
                  <a:close/>
                  <a:moveTo>
                    <a:pt x="6" y="32"/>
                  </a:moveTo>
                  <a:cubicBezTo>
                    <a:pt x="6" y="145"/>
                    <a:pt x="6" y="145"/>
                    <a:pt x="6" y="145"/>
                  </a:cubicBezTo>
                  <a:cubicBezTo>
                    <a:pt x="6" y="146"/>
                    <a:pt x="7" y="147"/>
                    <a:pt x="7" y="147"/>
                  </a:cubicBezTo>
                  <a:cubicBezTo>
                    <a:pt x="176" y="147"/>
                    <a:pt x="176" y="147"/>
                    <a:pt x="176" y="147"/>
                  </a:cubicBezTo>
                  <a:cubicBezTo>
                    <a:pt x="177" y="147"/>
                    <a:pt x="177" y="146"/>
                    <a:pt x="177" y="145"/>
                  </a:cubicBezTo>
                  <a:cubicBezTo>
                    <a:pt x="177" y="32"/>
                    <a:pt x="177" y="32"/>
                    <a:pt x="177" y="32"/>
                  </a:cubicBezTo>
                  <a:lnTo>
                    <a:pt x="6" y="32"/>
                  </a:lnTo>
                  <a:close/>
                  <a:moveTo>
                    <a:pt x="6" y="25"/>
                  </a:moveTo>
                  <a:cubicBezTo>
                    <a:pt x="177" y="25"/>
                    <a:pt x="177" y="25"/>
                    <a:pt x="177" y="25"/>
                  </a:cubicBezTo>
                  <a:cubicBezTo>
                    <a:pt x="177" y="7"/>
                    <a:pt x="177" y="7"/>
                    <a:pt x="177" y="7"/>
                  </a:cubicBezTo>
                  <a:cubicBezTo>
                    <a:pt x="177" y="6"/>
                    <a:pt x="177" y="6"/>
                    <a:pt x="176" y="6"/>
                  </a:cubicBezTo>
                  <a:cubicBezTo>
                    <a:pt x="7" y="6"/>
                    <a:pt x="7" y="6"/>
                    <a:pt x="7" y="6"/>
                  </a:cubicBezTo>
                  <a:cubicBezTo>
                    <a:pt x="7" y="6"/>
                    <a:pt x="6" y="6"/>
                    <a:pt x="6" y="7"/>
                  </a:cubicBezTo>
                  <a:lnTo>
                    <a:pt x="6"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grpSp>
      <p:sp>
        <p:nvSpPr>
          <p:cNvPr id="129" name="Flowchart: Connector 128">
            <a:extLst>
              <a:ext uri="{FF2B5EF4-FFF2-40B4-BE49-F238E27FC236}">
                <a16:creationId xmlns:a16="http://schemas.microsoft.com/office/drawing/2014/main" id="{DD9A678A-B7AC-4FB1-ADE9-ED6A5015DFAD}"/>
              </a:ext>
            </a:extLst>
          </p:cNvPr>
          <p:cNvSpPr/>
          <p:nvPr/>
        </p:nvSpPr>
        <p:spPr>
          <a:xfrm>
            <a:off x="9081647" y="1534633"/>
            <a:ext cx="1041874" cy="1058000"/>
          </a:xfrm>
          <a:prstGeom prst="flowChartConnector">
            <a:avLst/>
          </a:prstGeom>
          <a:solidFill>
            <a:srgbClr val="573EEF"/>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Montserrat"/>
              <a:ea typeface="+mn-ea"/>
              <a:cs typeface="+mn-cs"/>
            </a:endParaRPr>
          </a:p>
        </p:txBody>
      </p:sp>
      <p:sp>
        <p:nvSpPr>
          <p:cNvPr id="130" name="TextBox 129">
            <a:extLst>
              <a:ext uri="{FF2B5EF4-FFF2-40B4-BE49-F238E27FC236}">
                <a16:creationId xmlns:a16="http://schemas.microsoft.com/office/drawing/2014/main" id="{8D74824D-27AD-4805-906F-801C594C8163}"/>
              </a:ext>
            </a:extLst>
          </p:cNvPr>
          <p:cNvSpPr txBox="1"/>
          <p:nvPr/>
        </p:nvSpPr>
        <p:spPr>
          <a:xfrm>
            <a:off x="7944769" y="2673658"/>
            <a:ext cx="3353761" cy="2451735"/>
          </a:xfrm>
          <a:prstGeom prst="roundRect">
            <a:avLst/>
          </a:prstGeom>
          <a:solidFill>
            <a:sysClr val="window" lastClr="FFFFFF"/>
          </a:solidFill>
          <a:ln w="25400" cap="flat" cmpd="sng" algn="ctr">
            <a:solidFill>
              <a:srgbClr val="F9D957"/>
            </a:solidFill>
            <a:prstDash val="solid"/>
          </a:ln>
          <a:effectLst/>
        </p:spPr>
        <p:txBody>
          <a:bodyPr vert="horz" wrap="square" lIns="0" tIns="0" rIns="0" bIns="0" rtlCol="0" anchor="b"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Montserrat"/>
                <a:ea typeface="+mn-ea"/>
                <a:cs typeface="+mn-cs"/>
              </a:rPr>
              <a:t>Eligibilit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1"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Montserrat"/>
                <a:ea typeface="+mn-ea"/>
                <a:cs typeface="+mn-cs"/>
              </a:rPr>
              <a:t>Clients with good credit eligibilit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Montserrat"/>
                <a:ea typeface="+mn-ea"/>
                <a:cs typeface="+mn-cs"/>
              </a:rPr>
              <a:t>Econocom can give you a go / no go decision in 24h</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Montserrat"/>
              <a:ea typeface="+mn-ea"/>
              <a:cs typeface="+mn-cs"/>
            </a:endParaRPr>
          </a:p>
        </p:txBody>
      </p:sp>
      <p:pic>
        <p:nvPicPr>
          <p:cNvPr id="5" name="Graphic 4" descr="Magnifying glass with solid fill">
            <a:extLst>
              <a:ext uri="{FF2B5EF4-FFF2-40B4-BE49-F238E27FC236}">
                <a16:creationId xmlns:a16="http://schemas.microsoft.com/office/drawing/2014/main" id="{FB239923-D27E-4559-BC09-886186F56FE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230493" y="1691542"/>
            <a:ext cx="744181" cy="744181"/>
          </a:xfrm>
          <a:prstGeom prst="rect">
            <a:avLst/>
          </a:prstGeom>
        </p:spPr>
      </p:pic>
      <p:pic>
        <p:nvPicPr>
          <p:cNvPr id="7" name="Graphic 6" descr="Daily calendar outline">
            <a:extLst>
              <a:ext uri="{FF2B5EF4-FFF2-40B4-BE49-F238E27FC236}">
                <a16:creationId xmlns:a16="http://schemas.microsoft.com/office/drawing/2014/main" id="{1AAF9517-7D90-4EE7-84E3-D95B968EA7C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90284" y="1699868"/>
            <a:ext cx="786992" cy="786992"/>
          </a:xfrm>
          <a:prstGeom prst="rect">
            <a:avLst/>
          </a:prstGeom>
        </p:spPr>
      </p:pic>
      <p:pic>
        <p:nvPicPr>
          <p:cNvPr id="15" name="Graphic 14" descr="Bar graph with upward trend outline">
            <a:extLst>
              <a:ext uri="{FF2B5EF4-FFF2-40B4-BE49-F238E27FC236}">
                <a16:creationId xmlns:a16="http://schemas.microsoft.com/office/drawing/2014/main" id="{5C851B68-10BC-44AB-97A3-58E5D759607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72071" y="1706845"/>
            <a:ext cx="699217" cy="699217"/>
          </a:xfrm>
          <a:prstGeom prst="rect">
            <a:avLst/>
          </a:prstGeom>
        </p:spPr>
      </p:pic>
    </p:spTree>
    <p:extLst>
      <p:ext uri="{BB962C8B-B14F-4D97-AF65-F5344CB8AC3E}">
        <p14:creationId xmlns:p14="http://schemas.microsoft.com/office/powerpoint/2010/main" val="943110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rgbClr val="573EEF"/>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ADE1105-893C-44CB-999E-B5377DAC61AF}"/>
              </a:ext>
            </a:extLst>
          </p:cNvPr>
          <p:cNvSpPr/>
          <p:nvPr/>
        </p:nvSpPr>
        <p:spPr>
          <a:xfrm>
            <a:off x="3240874" y="1595732"/>
            <a:ext cx="7407074" cy="2049719"/>
          </a:xfrm>
          <a:prstGeom prst="rect">
            <a:avLst/>
          </a:prstGeom>
          <a:noFill/>
        </p:spPr>
        <p:txBody>
          <a:bodyPr wrap="square" lIns="36000" tIns="36000" rIns="36000" bIns="36000" anchor="t" anchorCtr="0">
            <a:spAutoFit/>
          </a:bodyPr>
          <a:lstStyle/>
          <a:p>
            <a:pPr lvl="0">
              <a:lnSpc>
                <a:spcPct val="80000"/>
              </a:lnSpc>
              <a:spcBef>
                <a:spcPts val="600"/>
              </a:spcBef>
              <a:defRPr/>
            </a:pPr>
            <a:r>
              <a:rPr lang="en-US" sz="8000" b="1" dirty="0">
                <a:solidFill>
                  <a:srgbClr val="FFFFFF"/>
                </a:solidFill>
                <a:latin typeface="+mj-lt"/>
              </a:rPr>
              <a:t>Additional offering</a:t>
            </a:r>
          </a:p>
        </p:txBody>
      </p:sp>
      <p:sp>
        <p:nvSpPr>
          <p:cNvPr id="43" name="Freeform 24">
            <a:extLst>
              <a:ext uri="{FF2B5EF4-FFF2-40B4-BE49-F238E27FC236}">
                <a16:creationId xmlns:a16="http://schemas.microsoft.com/office/drawing/2014/main" id="{EA8E2405-CE2A-4013-9480-6C043831D1E2}"/>
              </a:ext>
            </a:extLst>
          </p:cNvPr>
          <p:cNvSpPr>
            <a:spLocks noEditPoints="1"/>
          </p:cNvSpPr>
          <p:nvPr/>
        </p:nvSpPr>
        <p:spPr bwMode="auto">
          <a:xfrm>
            <a:off x="6405430" y="5076445"/>
            <a:ext cx="901043" cy="734183"/>
          </a:xfrm>
          <a:custGeom>
            <a:avLst/>
            <a:gdLst>
              <a:gd name="T0" fmla="*/ 335 w 335"/>
              <a:gd name="T1" fmla="*/ 264 h 272"/>
              <a:gd name="T2" fmla="*/ 335 w 335"/>
              <a:gd name="T3" fmla="*/ 264 h 272"/>
              <a:gd name="T4" fmla="*/ 335 w 335"/>
              <a:gd name="T5" fmla="*/ 264 h 272"/>
              <a:gd name="T6" fmla="*/ 0 w 335"/>
              <a:gd name="T7" fmla="*/ 0 h 272"/>
              <a:gd name="T8" fmla="*/ 0 w 335"/>
              <a:gd name="T9" fmla="*/ 0 h 272"/>
              <a:gd name="T10" fmla="*/ 272 w 335"/>
              <a:gd name="T11" fmla="*/ 272 h 272"/>
              <a:gd name="T12" fmla="*/ 335 w 335"/>
              <a:gd name="T13" fmla="*/ 264 h 272"/>
              <a:gd name="T14" fmla="*/ 272 w 335"/>
              <a:gd name="T15" fmla="*/ 272 h 272"/>
              <a:gd name="T16" fmla="*/ 0 w 335"/>
              <a:gd name="T1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5" h="272">
                <a:moveTo>
                  <a:pt x="335" y="264"/>
                </a:moveTo>
                <a:cubicBezTo>
                  <a:pt x="335" y="264"/>
                  <a:pt x="335" y="264"/>
                  <a:pt x="335" y="264"/>
                </a:cubicBezTo>
                <a:cubicBezTo>
                  <a:pt x="335" y="264"/>
                  <a:pt x="335" y="264"/>
                  <a:pt x="335" y="264"/>
                </a:cubicBezTo>
                <a:moveTo>
                  <a:pt x="0" y="0"/>
                </a:moveTo>
                <a:cubicBezTo>
                  <a:pt x="0" y="0"/>
                  <a:pt x="0" y="0"/>
                  <a:pt x="0" y="0"/>
                </a:cubicBezTo>
                <a:cubicBezTo>
                  <a:pt x="0" y="150"/>
                  <a:pt x="122" y="272"/>
                  <a:pt x="272" y="272"/>
                </a:cubicBezTo>
                <a:cubicBezTo>
                  <a:pt x="294" y="272"/>
                  <a:pt x="315" y="269"/>
                  <a:pt x="335" y="264"/>
                </a:cubicBezTo>
                <a:cubicBezTo>
                  <a:pt x="315" y="269"/>
                  <a:pt x="294" y="272"/>
                  <a:pt x="272" y="272"/>
                </a:cubicBezTo>
                <a:cubicBezTo>
                  <a:pt x="122" y="272"/>
                  <a:pt x="0" y="150"/>
                  <a:pt x="0" y="0"/>
                </a:cubicBezTo>
              </a:path>
            </a:pathLst>
          </a:custGeom>
          <a:solidFill>
            <a:srgbClr val="494A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8">
            <a:extLst>
              <a:ext uri="{FF2B5EF4-FFF2-40B4-BE49-F238E27FC236}">
                <a16:creationId xmlns:a16="http://schemas.microsoft.com/office/drawing/2014/main" id="{0E1F120B-FA06-496B-865B-0EFD4C554240}"/>
              </a:ext>
            </a:extLst>
          </p:cNvPr>
          <p:cNvSpPr>
            <a:spLocks/>
          </p:cNvSpPr>
          <p:nvPr/>
        </p:nvSpPr>
        <p:spPr bwMode="auto">
          <a:xfrm>
            <a:off x="9461532" y="4581000"/>
            <a:ext cx="865104" cy="1229628"/>
          </a:xfrm>
          <a:custGeom>
            <a:avLst/>
            <a:gdLst>
              <a:gd name="T0" fmla="*/ 71 w 322"/>
              <a:gd name="T1" fmla="*/ 0 h 456"/>
              <a:gd name="T2" fmla="*/ 0 w 322"/>
              <a:gd name="T3" fmla="*/ 184 h 456"/>
              <a:gd name="T4" fmla="*/ 271 w 322"/>
              <a:gd name="T5" fmla="*/ 456 h 456"/>
              <a:gd name="T6" fmla="*/ 322 w 322"/>
              <a:gd name="T7" fmla="*/ 451 h 456"/>
              <a:gd name="T8" fmla="*/ 271 w 322"/>
              <a:gd name="T9" fmla="*/ 456 h 456"/>
              <a:gd name="T10" fmla="*/ 0 w 322"/>
              <a:gd name="T11" fmla="*/ 184 h 456"/>
              <a:gd name="T12" fmla="*/ 71 w 322"/>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22" h="456">
                <a:moveTo>
                  <a:pt x="71" y="0"/>
                </a:moveTo>
                <a:cubicBezTo>
                  <a:pt x="27" y="49"/>
                  <a:pt x="0" y="113"/>
                  <a:pt x="0" y="184"/>
                </a:cubicBezTo>
                <a:cubicBezTo>
                  <a:pt x="0" y="334"/>
                  <a:pt x="121" y="456"/>
                  <a:pt x="271" y="456"/>
                </a:cubicBezTo>
                <a:cubicBezTo>
                  <a:pt x="289" y="456"/>
                  <a:pt x="306" y="454"/>
                  <a:pt x="322" y="451"/>
                </a:cubicBezTo>
                <a:cubicBezTo>
                  <a:pt x="306" y="454"/>
                  <a:pt x="289" y="456"/>
                  <a:pt x="271" y="456"/>
                </a:cubicBezTo>
                <a:cubicBezTo>
                  <a:pt x="121" y="456"/>
                  <a:pt x="0" y="334"/>
                  <a:pt x="0" y="184"/>
                </a:cubicBezTo>
                <a:cubicBezTo>
                  <a:pt x="0" y="113"/>
                  <a:pt x="27" y="49"/>
                  <a:pt x="71" y="0"/>
                </a:cubicBezTo>
              </a:path>
            </a:pathLst>
          </a:custGeom>
          <a:solidFill>
            <a:srgbClr val="494A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cxnSp>
        <p:nvCxnSpPr>
          <p:cNvPr id="18" name="Connecteur droit 17">
            <a:extLst>
              <a:ext uri="{FF2B5EF4-FFF2-40B4-BE49-F238E27FC236}">
                <a16:creationId xmlns:a16="http://schemas.microsoft.com/office/drawing/2014/main" id="{078D693D-8BA7-4582-8A59-C37E91D2D06F}"/>
              </a:ext>
            </a:extLst>
          </p:cNvPr>
          <p:cNvCxnSpPr>
            <a:cxnSpLocks/>
          </p:cNvCxnSpPr>
          <p:nvPr/>
        </p:nvCxnSpPr>
        <p:spPr>
          <a:xfrm flipH="1">
            <a:off x="971550" y="2225099"/>
            <a:ext cx="153035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4173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300"/>
                                        <p:tgtEl>
                                          <p:spTgt spid="18"/>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5"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sym typeface="Montserrat" panose="00000500000000000000" pitchFamily="2" charset="0"/>
            </a:endParaRPr>
          </a:p>
        </p:txBody>
      </p:sp>
      <p:sp>
        <p:nvSpPr>
          <p:cNvPr id="13" name="Espace réservé du numéro de diapositive 4">
            <a:extLst>
              <a:ext uri="{FF2B5EF4-FFF2-40B4-BE49-F238E27FC236}">
                <a16:creationId xmlns:a16="http://schemas.microsoft.com/office/drawing/2014/main" id="{E790D2E0-0F21-4621-8F06-C8A4B08D1CBE}"/>
              </a:ext>
            </a:extLst>
          </p:cNvPr>
          <p:cNvSpPr>
            <a:spLocks noGrp="1"/>
          </p:cNvSpPr>
          <p:nvPr>
            <p:ph type="sldNum" sz="quarter" idx="12"/>
          </p:nvPr>
        </p:nvSpPr>
        <p:spPr>
          <a:xfrm>
            <a:off x="11620500" y="6426200"/>
            <a:ext cx="350520" cy="24384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C5DC16-0D22-4C7F-9249-BF4D2D91D79F}" type="slidenum">
              <a:rPr kumimoji="0" lang="en-US" sz="1050" b="0" i="0" u="none" strike="noStrike" kern="1200" cap="none" spc="0" normalizeH="0" baseline="0" noProof="0" smtClean="0">
                <a:ln>
                  <a:noFill/>
                </a:ln>
                <a:solidFill>
                  <a:prstClr val="white">
                    <a:lumMod val="50000"/>
                  </a:prstClr>
                </a:solidFill>
                <a:effectLst/>
                <a:uLnTx/>
                <a:uFillTx/>
                <a:latin typeface="Montserrat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50" b="0" i="0" u="none" strike="noStrike" kern="1200" cap="none" spc="0" normalizeH="0" baseline="0" noProof="0" dirty="0">
              <a:ln>
                <a:noFill/>
              </a:ln>
              <a:solidFill>
                <a:prstClr val="white">
                  <a:lumMod val="50000"/>
                </a:prstClr>
              </a:solidFill>
              <a:effectLst/>
              <a:uLnTx/>
              <a:uFillTx/>
              <a:latin typeface="Montserrat SemiBold"/>
              <a:ea typeface="+mn-ea"/>
              <a:cs typeface="+mn-cs"/>
            </a:endParaRPr>
          </a:p>
        </p:txBody>
      </p:sp>
      <p:sp>
        <p:nvSpPr>
          <p:cNvPr id="8" name="Titre 5">
            <a:extLst>
              <a:ext uri="{FF2B5EF4-FFF2-40B4-BE49-F238E27FC236}">
                <a16:creationId xmlns:a16="http://schemas.microsoft.com/office/drawing/2014/main" id="{8AE33944-45A3-415C-9EBA-293C9717DF33}"/>
              </a:ext>
            </a:extLst>
          </p:cNvPr>
          <p:cNvSpPr txBox="1">
            <a:spLocks/>
          </p:cNvSpPr>
          <p:nvPr/>
        </p:nvSpPr>
        <p:spPr>
          <a:xfrm>
            <a:off x="888790" y="569274"/>
            <a:ext cx="11042541" cy="856405"/>
          </a:xfrm>
          <a:prstGeom prst="rect">
            <a:avLst/>
          </a:prstGeom>
        </p:spPr>
        <p:txBody>
          <a:bodyPr vert="horz" lIns="0" tIns="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defRPr/>
            </a:pPr>
            <a:r>
              <a:rPr lang="en-US" dirty="0"/>
              <a:t>How else we can add value</a:t>
            </a:r>
          </a:p>
        </p:txBody>
      </p:sp>
      <p:sp>
        <p:nvSpPr>
          <p:cNvPr id="18" name="Subtitle 2">
            <a:extLst>
              <a:ext uri="{FF2B5EF4-FFF2-40B4-BE49-F238E27FC236}">
                <a16:creationId xmlns:a16="http://schemas.microsoft.com/office/drawing/2014/main" id="{FD48FD3C-8269-4C1D-82FB-432A4C1E0B1C}"/>
              </a:ext>
            </a:extLst>
          </p:cNvPr>
          <p:cNvSpPr txBox="1">
            <a:spLocks/>
          </p:cNvSpPr>
          <p:nvPr/>
        </p:nvSpPr>
        <p:spPr>
          <a:xfrm>
            <a:off x="643211" y="288108"/>
            <a:ext cx="8297321" cy="933605"/>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r>
              <a:rPr lang="en-US" sz="4800" dirty="0">
                <a:solidFill>
                  <a:srgbClr val="FF0000"/>
                </a:solidFill>
              </a:rPr>
              <a:t> </a:t>
            </a:r>
          </a:p>
        </p:txBody>
      </p:sp>
      <p:sp>
        <p:nvSpPr>
          <p:cNvPr id="6" name="Rectangle 5">
            <a:extLst>
              <a:ext uri="{FF2B5EF4-FFF2-40B4-BE49-F238E27FC236}">
                <a16:creationId xmlns:a16="http://schemas.microsoft.com/office/drawing/2014/main" id="{6F915373-02DA-4470-9CAD-96BC3CBE6189}"/>
              </a:ext>
            </a:extLst>
          </p:cNvPr>
          <p:cNvSpPr/>
          <p:nvPr/>
        </p:nvSpPr>
        <p:spPr>
          <a:xfrm>
            <a:off x="5974813" y="3244334"/>
            <a:ext cx="242374" cy="369332"/>
          </a:xfrm>
          <a:prstGeom prst="rect">
            <a:avLst/>
          </a:prstGeom>
        </p:spPr>
        <p:txBody>
          <a:bodyPr wrap="none">
            <a:spAutoFit/>
          </a:bodyPr>
          <a:lstStyle/>
          <a:p>
            <a:r>
              <a:rPr lang="en-GB" dirty="0">
                <a:solidFill>
                  <a:srgbClr val="000000"/>
                </a:solidFill>
                <a:latin typeface="Times New Roman" panose="02020603050405020304" pitchFamily="18" charset="0"/>
              </a:rPr>
              <a:t> </a:t>
            </a:r>
            <a:endParaRPr lang="en-GB" dirty="0"/>
          </a:p>
        </p:txBody>
      </p:sp>
      <p:sp>
        <p:nvSpPr>
          <p:cNvPr id="48" name="Rectangle 47">
            <a:extLst>
              <a:ext uri="{FF2B5EF4-FFF2-40B4-BE49-F238E27FC236}">
                <a16:creationId xmlns:a16="http://schemas.microsoft.com/office/drawing/2014/main" id="{FEB4E7BE-29B7-4E56-B282-57010F9D92C0}"/>
              </a:ext>
            </a:extLst>
          </p:cNvPr>
          <p:cNvSpPr/>
          <p:nvPr/>
        </p:nvSpPr>
        <p:spPr>
          <a:xfrm>
            <a:off x="2879977" y="3083719"/>
            <a:ext cx="2609189" cy="238859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126">
              <a:defRPr/>
            </a:pPr>
            <a:endParaRPr lang="en-US" sz="1799">
              <a:solidFill>
                <a:schemeClr val="accent2"/>
              </a:solidFill>
              <a:latin typeface="+mj-lt"/>
            </a:endParaRPr>
          </a:p>
        </p:txBody>
      </p:sp>
      <p:sp>
        <p:nvSpPr>
          <p:cNvPr id="49" name="Rectangle 48">
            <a:extLst>
              <a:ext uri="{FF2B5EF4-FFF2-40B4-BE49-F238E27FC236}">
                <a16:creationId xmlns:a16="http://schemas.microsoft.com/office/drawing/2014/main" id="{90374F20-9397-4825-A786-B2A4E9B5810E}"/>
              </a:ext>
            </a:extLst>
          </p:cNvPr>
          <p:cNvSpPr/>
          <p:nvPr/>
        </p:nvSpPr>
        <p:spPr>
          <a:xfrm>
            <a:off x="2854989" y="1425679"/>
            <a:ext cx="2609189" cy="1411633"/>
          </a:xfrm>
          <a:prstGeom prst="rect">
            <a:avLst/>
          </a:prstGeom>
          <a:noFill/>
          <a:ln w="25400">
            <a:solidFill>
              <a:srgbClr val="573EE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GB" sz="1799" b="1" dirty="0">
                <a:solidFill>
                  <a:schemeClr val="tx1"/>
                </a:solidFill>
                <a:latin typeface="+mj-lt"/>
              </a:rPr>
              <a:t>Buy Now, Pay Later</a:t>
            </a:r>
          </a:p>
        </p:txBody>
      </p:sp>
      <p:sp>
        <p:nvSpPr>
          <p:cNvPr id="50" name="Rectangle 49">
            <a:extLst>
              <a:ext uri="{FF2B5EF4-FFF2-40B4-BE49-F238E27FC236}">
                <a16:creationId xmlns:a16="http://schemas.microsoft.com/office/drawing/2014/main" id="{2827221B-0305-49DF-83CF-37974AF60891}"/>
              </a:ext>
            </a:extLst>
          </p:cNvPr>
          <p:cNvSpPr/>
          <p:nvPr/>
        </p:nvSpPr>
        <p:spPr>
          <a:xfrm>
            <a:off x="6331343" y="1425679"/>
            <a:ext cx="2609189" cy="1411633"/>
          </a:xfrm>
          <a:prstGeom prst="rect">
            <a:avLst/>
          </a:prstGeom>
          <a:noFill/>
          <a:ln w="25400">
            <a:solidFill>
              <a:srgbClr val="573EE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GB" sz="1799" b="1" dirty="0">
                <a:solidFill>
                  <a:schemeClr val="tx1"/>
                </a:solidFill>
                <a:latin typeface="+mj-lt"/>
              </a:rPr>
              <a:t>Cash Back</a:t>
            </a:r>
          </a:p>
        </p:txBody>
      </p:sp>
      <p:sp>
        <p:nvSpPr>
          <p:cNvPr id="51" name="Rectangle 50">
            <a:extLst>
              <a:ext uri="{FF2B5EF4-FFF2-40B4-BE49-F238E27FC236}">
                <a16:creationId xmlns:a16="http://schemas.microsoft.com/office/drawing/2014/main" id="{C52CCFA4-2ABE-4F77-8529-089A82DE27FA}"/>
              </a:ext>
            </a:extLst>
          </p:cNvPr>
          <p:cNvSpPr/>
          <p:nvPr/>
        </p:nvSpPr>
        <p:spPr>
          <a:xfrm>
            <a:off x="6331343" y="3062680"/>
            <a:ext cx="2609189" cy="24096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126">
              <a:defRPr/>
            </a:pPr>
            <a:endParaRPr lang="en-US" sz="1799">
              <a:solidFill>
                <a:schemeClr val="accent2"/>
              </a:solidFill>
              <a:latin typeface="+mj-lt"/>
            </a:endParaRPr>
          </a:p>
        </p:txBody>
      </p:sp>
      <p:sp>
        <p:nvSpPr>
          <p:cNvPr id="52" name="Rectangle 51">
            <a:extLst>
              <a:ext uri="{FF2B5EF4-FFF2-40B4-BE49-F238E27FC236}">
                <a16:creationId xmlns:a16="http://schemas.microsoft.com/office/drawing/2014/main" id="{4019E2F0-3E47-45A6-AB8A-F8D22CDACD2F}"/>
              </a:ext>
            </a:extLst>
          </p:cNvPr>
          <p:cNvSpPr/>
          <p:nvPr/>
        </p:nvSpPr>
        <p:spPr>
          <a:xfrm>
            <a:off x="6410699" y="3613779"/>
            <a:ext cx="2450476" cy="1107483"/>
          </a:xfrm>
          <a:prstGeom prst="rect">
            <a:avLst/>
          </a:prstGeom>
        </p:spPr>
        <p:txBody>
          <a:bodyPr wrap="square" lIns="0" tIns="0" rIns="0" bIns="0" anchor="ctr">
            <a:spAutoFit/>
          </a:bodyPr>
          <a:lstStyle/>
          <a:p>
            <a:pPr lvl="0" algn="ctr">
              <a:defRPr/>
            </a:pPr>
            <a:r>
              <a:rPr lang="en-GB" sz="1799" dirty="0">
                <a:solidFill>
                  <a:schemeClr val="bg1"/>
                </a:solidFill>
                <a:latin typeface="+mj-lt"/>
              </a:rPr>
              <a:t>Buy back newly acquired assets to put cash back into business</a:t>
            </a:r>
            <a:endParaRPr lang="en-US" sz="1799" dirty="0">
              <a:solidFill>
                <a:schemeClr val="bg1"/>
              </a:solidFill>
              <a:latin typeface="+mj-lt"/>
            </a:endParaRPr>
          </a:p>
        </p:txBody>
      </p:sp>
      <p:cxnSp>
        <p:nvCxnSpPr>
          <p:cNvPr id="53" name="Connecteur droit 62">
            <a:extLst>
              <a:ext uri="{FF2B5EF4-FFF2-40B4-BE49-F238E27FC236}">
                <a16:creationId xmlns:a16="http://schemas.microsoft.com/office/drawing/2014/main" id="{05E40929-0FCA-4AC5-8C54-1B84D8D80F52}"/>
              </a:ext>
            </a:extLst>
          </p:cNvPr>
          <p:cNvCxnSpPr>
            <a:cxnSpLocks/>
          </p:cNvCxnSpPr>
          <p:nvPr/>
        </p:nvCxnSpPr>
        <p:spPr>
          <a:xfrm rot="5400000">
            <a:off x="4115116" y="2715746"/>
            <a:ext cx="0" cy="735947"/>
          </a:xfrm>
          <a:prstGeom prst="line">
            <a:avLst/>
          </a:prstGeom>
          <a:ln w="38100">
            <a:solidFill>
              <a:srgbClr val="573EEF"/>
            </a:solidFill>
          </a:ln>
        </p:spPr>
        <p:style>
          <a:lnRef idx="1">
            <a:schemeClr val="accent1"/>
          </a:lnRef>
          <a:fillRef idx="0">
            <a:schemeClr val="accent1"/>
          </a:fillRef>
          <a:effectRef idx="0">
            <a:schemeClr val="accent1"/>
          </a:effectRef>
          <a:fontRef idx="minor">
            <a:schemeClr val="tx1"/>
          </a:fontRef>
        </p:style>
      </p:cxnSp>
      <p:cxnSp>
        <p:nvCxnSpPr>
          <p:cNvPr id="54" name="Connecteur droit 63">
            <a:extLst>
              <a:ext uri="{FF2B5EF4-FFF2-40B4-BE49-F238E27FC236}">
                <a16:creationId xmlns:a16="http://schemas.microsoft.com/office/drawing/2014/main" id="{8940AE9D-9A23-4FFB-9CC3-0BF6AFEC4471}"/>
              </a:ext>
            </a:extLst>
          </p:cNvPr>
          <p:cNvCxnSpPr>
            <a:cxnSpLocks/>
          </p:cNvCxnSpPr>
          <p:nvPr/>
        </p:nvCxnSpPr>
        <p:spPr>
          <a:xfrm rot="5400000">
            <a:off x="7635937" y="2706478"/>
            <a:ext cx="0" cy="735947"/>
          </a:xfrm>
          <a:prstGeom prst="line">
            <a:avLst/>
          </a:prstGeom>
          <a:ln w="38100">
            <a:solidFill>
              <a:srgbClr val="573EEF"/>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3D9F6070-D19F-45AB-B4E6-E8CD88194B5E}"/>
              </a:ext>
            </a:extLst>
          </p:cNvPr>
          <p:cNvSpPr/>
          <p:nvPr/>
        </p:nvSpPr>
        <p:spPr>
          <a:xfrm>
            <a:off x="2977674" y="3613666"/>
            <a:ext cx="2413793" cy="1107483"/>
          </a:xfrm>
          <a:prstGeom prst="rect">
            <a:avLst/>
          </a:prstGeom>
        </p:spPr>
        <p:txBody>
          <a:bodyPr wrap="square" lIns="0" tIns="0" rIns="0" bIns="0" anchor="ctr">
            <a:spAutoFit/>
          </a:bodyPr>
          <a:lstStyle/>
          <a:p>
            <a:pPr lvl="0" algn="ctr">
              <a:defRPr/>
            </a:pPr>
            <a:r>
              <a:rPr lang="en-GB" sz="1799" dirty="0">
                <a:solidFill>
                  <a:schemeClr val="bg1"/>
                </a:solidFill>
                <a:latin typeface="+mj-lt"/>
              </a:rPr>
              <a:t>A flexible facility to order solutions on-demand and defer the initial payment</a:t>
            </a:r>
          </a:p>
        </p:txBody>
      </p:sp>
    </p:spTree>
    <p:extLst>
      <p:ext uri="{BB962C8B-B14F-4D97-AF65-F5344CB8AC3E}">
        <p14:creationId xmlns:p14="http://schemas.microsoft.com/office/powerpoint/2010/main" val="24117694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E3A9F47B-E24B-43C9-BEEB-B7D001EC2B4B}"/>
              </a:ext>
            </a:extLst>
          </p:cNvPr>
          <p:cNvGrpSpPr/>
          <p:nvPr/>
        </p:nvGrpSpPr>
        <p:grpSpPr>
          <a:xfrm>
            <a:off x="5451282" y="2017670"/>
            <a:ext cx="1289436" cy="1289436"/>
            <a:chOff x="4874992" y="1505095"/>
            <a:chExt cx="2573558" cy="2573558"/>
          </a:xfrm>
        </p:grpSpPr>
        <p:sp>
          <p:nvSpPr>
            <p:cNvPr id="33" name="Ellipse 77">
              <a:extLst>
                <a:ext uri="{FF2B5EF4-FFF2-40B4-BE49-F238E27FC236}">
                  <a16:creationId xmlns:a16="http://schemas.microsoft.com/office/drawing/2014/main" id="{D03E069B-AAE7-4D6E-BF67-06160BF4C2A7}"/>
                </a:ext>
              </a:extLst>
            </p:cNvPr>
            <p:cNvSpPr/>
            <p:nvPr/>
          </p:nvSpPr>
          <p:spPr>
            <a:xfrm rot="5400000">
              <a:off x="4874992" y="1505095"/>
              <a:ext cx="2573558" cy="2573558"/>
            </a:xfrm>
            <a:prstGeom prst="ellipse">
              <a:avLst/>
            </a:prstGeom>
            <a:gradFill>
              <a:gsLst>
                <a:gs pos="13000">
                  <a:schemeClr val="bg1">
                    <a:alpha val="10000"/>
                  </a:schemeClr>
                </a:gs>
                <a:gs pos="100000">
                  <a:schemeClr val="bg1">
                    <a:alpha val="0"/>
                  </a:schemeClr>
                </a:gs>
              </a:gsLst>
              <a:lin ang="0" scaled="0"/>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prstClr val="white"/>
                </a:solidFill>
                <a:latin typeface="Arial" panose="020B0604020202020204" pitchFamily="34" charset="0"/>
              </a:endParaRPr>
            </a:p>
          </p:txBody>
        </p:sp>
        <p:sp>
          <p:nvSpPr>
            <p:cNvPr id="34" name="Ellipse 78">
              <a:extLst>
                <a:ext uri="{FF2B5EF4-FFF2-40B4-BE49-F238E27FC236}">
                  <a16:creationId xmlns:a16="http://schemas.microsoft.com/office/drawing/2014/main" id="{06660A59-EB73-4E15-8DF4-3828C47A6797}"/>
                </a:ext>
              </a:extLst>
            </p:cNvPr>
            <p:cNvSpPr/>
            <p:nvPr/>
          </p:nvSpPr>
          <p:spPr>
            <a:xfrm rot="10800000">
              <a:off x="5116736" y="1746839"/>
              <a:ext cx="2090071" cy="2090071"/>
            </a:xfrm>
            <a:prstGeom prst="ellipse">
              <a:avLst/>
            </a:prstGeom>
            <a:solidFill>
              <a:schemeClr val="accent6"/>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chemeClr val="accent1">
                    <a:lumMod val="40000"/>
                    <a:lumOff val="60000"/>
                  </a:schemeClr>
                </a:solidFill>
                <a:effectLst/>
                <a:uLnTx/>
                <a:uFillTx/>
                <a:latin typeface="Arial" panose="020B0604020202020204" pitchFamily="34" charset="0"/>
                <a:ea typeface="+mn-ea"/>
                <a:cs typeface="+mn-cs"/>
              </a:endParaRPr>
            </a:p>
          </p:txBody>
        </p:sp>
      </p:grpSp>
      <p:sp>
        <p:nvSpPr>
          <p:cNvPr id="3" name="Rectangle 2">
            <a:extLst>
              <a:ext uri="{FF2B5EF4-FFF2-40B4-BE49-F238E27FC236}">
                <a16:creationId xmlns:a16="http://schemas.microsoft.com/office/drawing/2014/main" id="{643BC4C1-399F-42FC-BD88-438B20C84D08}"/>
              </a:ext>
            </a:extLst>
          </p:cNvPr>
          <p:cNvSpPr/>
          <p:nvPr/>
        </p:nvSpPr>
        <p:spPr>
          <a:xfrm>
            <a:off x="2483490" y="1099883"/>
            <a:ext cx="7233387" cy="5398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dirty="0">
                <a:solidFill>
                  <a:schemeClr val="accent6"/>
                </a:solidFill>
                <a:latin typeface="Montserrat ExtraBold" panose="00000900000000000000" pitchFamily="50" charset="0"/>
              </a:rPr>
              <a:t>Any questions?</a:t>
            </a:r>
          </a:p>
        </p:txBody>
      </p:sp>
      <p:sp>
        <p:nvSpPr>
          <p:cNvPr id="5" name="Rectangle 4"/>
          <p:cNvSpPr/>
          <p:nvPr/>
        </p:nvSpPr>
        <p:spPr>
          <a:xfrm>
            <a:off x="3048000" y="3362813"/>
            <a:ext cx="6096000" cy="1477328"/>
          </a:xfrm>
          <a:prstGeom prst="rect">
            <a:avLst/>
          </a:prstGeom>
        </p:spPr>
        <p:txBody>
          <a:bodyPr>
            <a:spAutoFit/>
          </a:bodyPr>
          <a:lstStyle/>
          <a:p>
            <a:pPr algn="ctr"/>
            <a:endParaRPr lang="en-GB" dirty="0">
              <a:solidFill>
                <a:schemeClr val="bg1"/>
              </a:solidFill>
              <a:latin typeface="+mj-lt"/>
            </a:endParaRPr>
          </a:p>
          <a:p>
            <a:pPr algn="ctr"/>
            <a:r>
              <a:rPr lang="en-GB" u="sng" dirty="0">
                <a:solidFill>
                  <a:schemeClr val="bg1"/>
                </a:solidFill>
                <a:latin typeface="+mj-lt"/>
              </a:rPr>
              <a:t>info.gb@econocom.com </a:t>
            </a:r>
          </a:p>
          <a:p>
            <a:pPr algn="ctr"/>
            <a:r>
              <a:rPr lang="en-GB" u="sng" dirty="0">
                <a:solidFill>
                  <a:schemeClr val="bg1"/>
                </a:solidFill>
                <a:latin typeface="+mj-lt"/>
              </a:rPr>
              <a:t>www.econocom.co.uk</a:t>
            </a:r>
          </a:p>
          <a:p>
            <a:pPr algn="ctr"/>
            <a:endParaRPr lang="fr-FR" dirty="0">
              <a:solidFill>
                <a:schemeClr val="bg1"/>
              </a:solidFill>
            </a:endParaRPr>
          </a:p>
          <a:p>
            <a:pPr algn="ctr"/>
            <a:endParaRPr lang="fr-FR" dirty="0">
              <a:solidFill>
                <a:schemeClr val="bg1"/>
              </a:solidFill>
            </a:endParaRPr>
          </a:p>
        </p:txBody>
      </p:sp>
      <p:grpSp>
        <p:nvGrpSpPr>
          <p:cNvPr id="8" name="Group 74">
            <a:extLst>
              <a:ext uri="{FF2B5EF4-FFF2-40B4-BE49-F238E27FC236}">
                <a16:creationId xmlns:a16="http://schemas.microsoft.com/office/drawing/2014/main" id="{D01A02A0-89CB-4194-B0F1-20601E0EA0A8}"/>
              </a:ext>
            </a:extLst>
          </p:cNvPr>
          <p:cNvGrpSpPr>
            <a:grpSpLocks noChangeAspect="1"/>
          </p:cNvGrpSpPr>
          <p:nvPr/>
        </p:nvGrpSpPr>
        <p:grpSpPr bwMode="auto">
          <a:xfrm>
            <a:off x="5796447" y="2493648"/>
            <a:ext cx="599106" cy="369448"/>
            <a:chOff x="3542" y="1979"/>
            <a:chExt cx="600" cy="370"/>
          </a:xfrm>
        </p:grpSpPr>
        <p:sp>
          <p:nvSpPr>
            <p:cNvPr id="9" name="Line 75">
              <a:extLst>
                <a:ext uri="{FF2B5EF4-FFF2-40B4-BE49-F238E27FC236}">
                  <a16:creationId xmlns:a16="http://schemas.microsoft.com/office/drawing/2014/main" id="{4E2265AC-3244-49F9-8DA3-A2E98348A59C}"/>
                </a:ext>
              </a:extLst>
            </p:cNvPr>
            <p:cNvSpPr>
              <a:spLocks noChangeShapeType="1"/>
            </p:cNvSpPr>
            <p:nvPr/>
          </p:nvSpPr>
          <p:spPr bwMode="auto">
            <a:xfrm>
              <a:off x="3985" y="2253"/>
              <a:ext cx="73" cy="0"/>
            </a:xfrm>
            <a:prstGeom prst="line">
              <a:avLst/>
            </a:pr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0" name="Freeform 76">
              <a:extLst>
                <a:ext uri="{FF2B5EF4-FFF2-40B4-BE49-F238E27FC236}">
                  <a16:creationId xmlns:a16="http://schemas.microsoft.com/office/drawing/2014/main" id="{4EEE6224-B2A1-449B-A5A5-536E9F6745ED}"/>
                </a:ext>
              </a:extLst>
            </p:cNvPr>
            <p:cNvSpPr>
              <a:spLocks/>
            </p:cNvSpPr>
            <p:nvPr/>
          </p:nvSpPr>
          <p:spPr bwMode="auto">
            <a:xfrm>
              <a:off x="3629" y="2220"/>
              <a:ext cx="142" cy="127"/>
            </a:xfrm>
            <a:custGeom>
              <a:avLst/>
              <a:gdLst>
                <a:gd name="T0" fmla="*/ 69 w 69"/>
                <a:gd name="T1" fmla="*/ 59 h 61"/>
                <a:gd name="T2" fmla="*/ 46 w 69"/>
                <a:gd name="T3" fmla="*/ 49 h 61"/>
                <a:gd name="T4" fmla="*/ 18 w 69"/>
                <a:gd name="T5" fmla="*/ 0 h 61"/>
                <a:gd name="T6" fmla="*/ 0 w 69"/>
                <a:gd name="T7" fmla="*/ 0 h 61"/>
              </a:gdLst>
              <a:ahLst/>
              <a:cxnLst>
                <a:cxn ang="0">
                  <a:pos x="T0" y="T1"/>
                </a:cxn>
                <a:cxn ang="0">
                  <a:pos x="T2" y="T3"/>
                </a:cxn>
                <a:cxn ang="0">
                  <a:pos x="T4" y="T5"/>
                </a:cxn>
                <a:cxn ang="0">
                  <a:pos x="T6" y="T7"/>
                </a:cxn>
              </a:cxnLst>
              <a:rect l="0" t="0" r="r" b="b"/>
              <a:pathLst>
                <a:path w="69" h="61">
                  <a:moveTo>
                    <a:pt x="69" y="59"/>
                  </a:moveTo>
                  <a:cubicBezTo>
                    <a:pt x="64" y="60"/>
                    <a:pt x="53" y="61"/>
                    <a:pt x="46" y="49"/>
                  </a:cubicBezTo>
                  <a:cubicBezTo>
                    <a:pt x="18" y="0"/>
                    <a:pt x="18" y="0"/>
                    <a:pt x="18" y="0"/>
                  </a:cubicBezTo>
                  <a:cubicBezTo>
                    <a:pt x="0" y="0"/>
                    <a:pt x="0" y="0"/>
                    <a:pt x="0" y="0"/>
                  </a:cubicBezTo>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1" name="Line 77">
              <a:extLst>
                <a:ext uri="{FF2B5EF4-FFF2-40B4-BE49-F238E27FC236}">
                  <a16:creationId xmlns:a16="http://schemas.microsoft.com/office/drawing/2014/main" id="{D3544866-5008-4D66-B66E-7A873BB48D94}"/>
                </a:ext>
              </a:extLst>
            </p:cNvPr>
            <p:cNvSpPr>
              <a:spLocks noChangeShapeType="1"/>
            </p:cNvSpPr>
            <p:nvPr/>
          </p:nvSpPr>
          <p:spPr bwMode="auto">
            <a:xfrm>
              <a:off x="3829" y="2237"/>
              <a:ext cx="35" cy="64"/>
            </a:xfrm>
            <a:prstGeom prst="line">
              <a:avLst/>
            </a:pr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2" name="Line 78">
              <a:extLst>
                <a:ext uri="{FF2B5EF4-FFF2-40B4-BE49-F238E27FC236}">
                  <a16:creationId xmlns:a16="http://schemas.microsoft.com/office/drawing/2014/main" id="{7AAA3F23-4249-4C63-958E-05935F6EDF39}"/>
                </a:ext>
              </a:extLst>
            </p:cNvPr>
            <p:cNvSpPr>
              <a:spLocks noChangeShapeType="1"/>
            </p:cNvSpPr>
            <p:nvPr/>
          </p:nvSpPr>
          <p:spPr bwMode="auto">
            <a:xfrm>
              <a:off x="3777" y="2278"/>
              <a:ext cx="23" cy="42"/>
            </a:xfrm>
            <a:prstGeom prst="line">
              <a:avLst/>
            </a:pr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3" name="Freeform 79">
              <a:extLst>
                <a:ext uri="{FF2B5EF4-FFF2-40B4-BE49-F238E27FC236}">
                  <a16:creationId xmlns:a16="http://schemas.microsoft.com/office/drawing/2014/main" id="{69CDC592-F5C4-4EEE-909E-DB24225395A2}"/>
                </a:ext>
              </a:extLst>
            </p:cNvPr>
            <p:cNvSpPr>
              <a:spLocks/>
            </p:cNvSpPr>
            <p:nvPr/>
          </p:nvSpPr>
          <p:spPr bwMode="auto">
            <a:xfrm>
              <a:off x="3864" y="2301"/>
              <a:ext cx="45" cy="27"/>
            </a:xfrm>
            <a:custGeom>
              <a:avLst/>
              <a:gdLst>
                <a:gd name="T0" fmla="*/ 22 w 22"/>
                <a:gd name="T1" fmla="*/ 7 h 13"/>
                <a:gd name="T2" fmla="*/ 0 w 22"/>
                <a:gd name="T3" fmla="*/ 0 h 13"/>
              </a:gdLst>
              <a:ahLst/>
              <a:cxnLst>
                <a:cxn ang="0">
                  <a:pos x="T0" y="T1"/>
                </a:cxn>
                <a:cxn ang="0">
                  <a:pos x="T2" y="T3"/>
                </a:cxn>
              </a:cxnLst>
              <a:rect l="0" t="0" r="r" b="b"/>
              <a:pathLst>
                <a:path w="22" h="13">
                  <a:moveTo>
                    <a:pt x="22" y="7"/>
                  </a:moveTo>
                  <a:cubicBezTo>
                    <a:pt x="17" y="9"/>
                    <a:pt x="7" y="13"/>
                    <a:pt x="0" y="0"/>
                  </a:cubicBezTo>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4" name="Freeform 80">
              <a:extLst>
                <a:ext uri="{FF2B5EF4-FFF2-40B4-BE49-F238E27FC236}">
                  <a16:creationId xmlns:a16="http://schemas.microsoft.com/office/drawing/2014/main" id="{B7AACB9F-FCEA-42BF-B825-55060AB52C22}"/>
                </a:ext>
              </a:extLst>
            </p:cNvPr>
            <p:cNvSpPr>
              <a:spLocks/>
            </p:cNvSpPr>
            <p:nvPr/>
          </p:nvSpPr>
          <p:spPr bwMode="auto">
            <a:xfrm>
              <a:off x="3800" y="2320"/>
              <a:ext cx="37" cy="29"/>
            </a:xfrm>
            <a:custGeom>
              <a:avLst/>
              <a:gdLst>
                <a:gd name="T0" fmla="*/ 18 w 18"/>
                <a:gd name="T1" fmla="*/ 6 h 14"/>
                <a:gd name="T2" fmla="*/ 0 w 18"/>
                <a:gd name="T3" fmla="*/ 0 h 14"/>
              </a:gdLst>
              <a:ahLst/>
              <a:cxnLst>
                <a:cxn ang="0">
                  <a:pos x="T0" y="T1"/>
                </a:cxn>
                <a:cxn ang="0">
                  <a:pos x="T2" y="T3"/>
                </a:cxn>
              </a:cxnLst>
              <a:rect l="0" t="0" r="r" b="b"/>
              <a:pathLst>
                <a:path w="18" h="14">
                  <a:moveTo>
                    <a:pt x="18" y="6"/>
                  </a:moveTo>
                  <a:cubicBezTo>
                    <a:pt x="18" y="6"/>
                    <a:pt x="8" y="14"/>
                    <a:pt x="0" y="0"/>
                  </a:cubicBezTo>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5" name="Line 81">
              <a:extLst>
                <a:ext uri="{FF2B5EF4-FFF2-40B4-BE49-F238E27FC236}">
                  <a16:creationId xmlns:a16="http://schemas.microsoft.com/office/drawing/2014/main" id="{2244521B-4F4F-4934-9551-FB20C3BC5240}"/>
                </a:ext>
              </a:extLst>
            </p:cNvPr>
            <p:cNvSpPr>
              <a:spLocks noChangeShapeType="1"/>
            </p:cNvSpPr>
            <p:nvPr/>
          </p:nvSpPr>
          <p:spPr bwMode="auto">
            <a:xfrm>
              <a:off x="3629" y="2013"/>
              <a:ext cx="117" cy="0"/>
            </a:xfrm>
            <a:prstGeom prst="line">
              <a:avLst/>
            </a:pr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6" name="Freeform 82">
              <a:extLst>
                <a:ext uri="{FF2B5EF4-FFF2-40B4-BE49-F238E27FC236}">
                  <a16:creationId xmlns:a16="http://schemas.microsoft.com/office/drawing/2014/main" id="{2F29671D-4D53-47F8-833A-423194BE5511}"/>
                </a:ext>
              </a:extLst>
            </p:cNvPr>
            <p:cNvSpPr>
              <a:spLocks/>
            </p:cNvSpPr>
            <p:nvPr/>
          </p:nvSpPr>
          <p:spPr bwMode="auto">
            <a:xfrm>
              <a:off x="3542" y="1979"/>
              <a:ext cx="85" cy="279"/>
            </a:xfrm>
            <a:custGeom>
              <a:avLst/>
              <a:gdLst>
                <a:gd name="T0" fmla="*/ 0 w 85"/>
                <a:gd name="T1" fmla="*/ 0 h 279"/>
                <a:gd name="T2" fmla="*/ 85 w 85"/>
                <a:gd name="T3" fmla="*/ 0 h 279"/>
                <a:gd name="T4" fmla="*/ 85 w 85"/>
                <a:gd name="T5" fmla="*/ 279 h 279"/>
                <a:gd name="T6" fmla="*/ 0 w 85"/>
                <a:gd name="T7" fmla="*/ 279 h 279"/>
              </a:gdLst>
              <a:ahLst/>
              <a:cxnLst>
                <a:cxn ang="0">
                  <a:pos x="T0" y="T1"/>
                </a:cxn>
                <a:cxn ang="0">
                  <a:pos x="T2" y="T3"/>
                </a:cxn>
                <a:cxn ang="0">
                  <a:pos x="T4" y="T5"/>
                </a:cxn>
                <a:cxn ang="0">
                  <a:pos x="T6" y="T7"/>
                </a:cxn>
              </a:cxnLst>
              <a:rect l="0" t="0" r="r" b="b"/>
              <a:pathLst>
                <a:path w="85" h="279">
                  <a:moveTo>
                    <a:pt x="0" y="0"/>
                  </a:moveTo>
                  <a:lnTo>
                    <a:pt x="85" y="0"/>
                  </a:lnTo>
                  <a:lnTo>
                    <a:pt x="85" y="279"/>
                  </a:lnTo>
                  <a:lnTo>
                    <a:pt x="0" y="279"/>
                  </a:lnTo>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7" name="Freeform 83">
              <a:extLst>
                <a:ext uri="{FF2B5EF4-FFF2-40B4-BE49-F238E27FC236}">
                  <a16:creationId xmlns:a16="http://schemas.microsoft.com/office/drawing/2014/main" id="{D403BB73-5C27-4C45-B643-B401E96A76A1}"/>
                </a:ext>
              </a:extLst>
            </p:cNvPr>
            <p:cNvSpPr>
              <a:spLocks/>
            </p:cNvSpPr>
            <p:nvPr/>
          </p:nvSpPr>
          <p:spPr bwMode="auto">
            <a:xfrm>
              <a:off x="4058" y="2004"/>
              <a:ext cx="84" cy="278"/>
            </a:xfrm>
            <a:custGeom>
              <a:avLst/>
              <a:gdLst>
                <a:gd name="T0" fmla="*/ 84 w 84"/>
                <a:gd name="T1" fmla="*/ 0 h 278"/>
                <a:gd name="T2" fmla="*/ 0 w 84"/>
                <a:gd name="T3" fmla="*/ 0 h 278"/>
                <a:gd name="T4" fmla="*/ 0 w 84"/>
                <a:gd name="T5" fmla="*/ 278 h 278"/>
                <a:gd name="T6" fmla="*/ 84 w 84"/>
                <a:gd name="T7" fmla="*/ 278 h 278"/>
              </a:gdLst>
              <a:ahLst/>
              <a:cxnLst>
                <a:cxn ang="0">
                  <a:pos x="T0" y="T1"/>
                </a:cxn>
                <a:cxn ang="0">
                  <a:pos x="T2" y="T3"/>
                </a:cxn>
                <a:cxn ang="0">
                  <a:pos x="T4" y="T5"/>
                </a:cxn>
                <a:cxn ang="0">
                  <a:pos x="T6" y="T7"/>
                </a:cxn>
              </a:cxnLst>
              <a:rect l="0" t="0" r="r" b="b"/>
              <a:pathLst>
                <a:path w="84" h="278">
                  <a:moveTo>
                    <a:pt x="84" y="0"/>
                  </a:moveTo>
                  <a:lnTo>
                    <a:pt x="0" y="0"/>
                  </a:lnTo>
                  <a:lnTo>
                    <a:pt x="0" y="278"/>
                  </a:lnTo>
                  <a:lnTo>
                    <a:pt x="84" y="278"/>
                  </a:lnTo>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8" name="Freeform 84">
              <a:extLst>
                <a:ext uri="{FF2B5EF4-FFF2-40B4-BE49-F238E27FC236}">
                  <a16:creationId xmlns:a16="http://schemas.microsoft.com/office/drawing/2014/main" id="{22F69572-1EE4-43C5-AD13-BC8265F41669}"/>
                </a:ext>
              </a:extLst>
            </p:cNvPr>
            <p:cNvSpPr>
              <a:spLocks/>
            </p:cNvSpPr>
            <p:nvPr/>
          </p:nvSpPr>
          <p:spPr bwMode="auto">
            <a:xfrm>
              <a:off x="3719" y="1992"/>
              <a:ext cx="336" cy="274"/>
            </a:xfrm>
            <a:custGeom>
              <a:avLst/>
              <a:gdLst>
                <a:gd name="T0" fmla="*/ 133 w 163"/>
                <a:gd name="T1" fmla="*/ 132 h 132"/>
                <a:gd name="T2" fmla="*/ 87 w 163"/>
                <a:gd name="T3" fmla="*/ 44 h 132"/>
                <a:gd name="T4" fmla="*/ 63 w 163"/>
                <a:gd name="T5" fmla="*/ 41 h 132"/>
                <a:gd name="T6" fmla="*/ 36 w 163"/>
                <a:gd name="T7" fmla="*/ 69 h 132"/>
                <a:gd name="T8" fmla="*/ 0 w 163"/>
                <a:gd name="T9" fmla="*/ 61 h 132"/>
                <a:gd name="T10" fmla="*/ 35 w 163"/>
                <a:gd name="T11" fmla="*/ 15 h 132"/>
                <a:gd name="T12" fmla="*/ 59 w 163"/>
                <a:gd name="T13" fmla="*/ 0 h 132"/>
                <a:gd name="T14" fmla="*/ 112 w 163"/>
                <a:gd name="T15" fmla="*/ 0 h 132"/>
                <a:gd name="T16" fmla="*/ 163 w 163"/>
                <a:gd name="T17" fmla="*/ 2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132">
                  <a:moveTo>
                    <a:pt x="133" y="132"/>
                  </a:moveTo>
                  <a:cubicBezTo>
                    <a:pt x="87" y="44"/>
                    <a:pt x="87" y="44"/>
                    <a:pt x="87" y="44"/>
                  </a:cubicBezTo>
                  <a:cubicBezTo>
                    <a:pt x="83" y="43"/>
                    <a:pt x="63" y="41"/>
                    <a:pt x="63" y="41"/>
                  </a:cubicBezTo>
                  <a:cubicBezTo>
                    <a:pt x="36" y="69"/>
                    <a:pt x="36" y="69"/>
                    <a:pt x="36" y="69"/>
                  </a:cubicBezTo>
                  <a:cubicBezTo>
                    <a:pt x="13" y="87"/>
                    <a:pt x="0" y="61"/>
                    <a:pt x="0" y="61"/>
                  </a:cubicBezTo>
                  <a:cubicBezTo>
                    <a:pt x="35" y="15"/>
                    <a:pt x="35" y="15"/>
                    <a:pt x="35" y="15"/>
                  </a:cubicBezTo>
                  <a:cubicBezTo>
                    <a:pt x="47" y="0"/>
                    <a:pt x="59" y="0"/>
                    <a:pt x="59" y="0"/>
                  </a:cubicBezTo>
                  <a:cubicBezTo>
                    <a:pt x="112" y="0"/>
                    <a:pt x="112" y="0"/>
                    <a:pt x="112" y="0"/>
                  </a:cubicBezTo>
                  <a:cubicBezTo>
                    <a:pt x="163" y="23"/>
                    <a:pt x="163" y="23"/>
                    <a:pt x="163" y="23"/>
                  </a:cubicBezTo>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19" name="Freeform 85">
              <a:extLst>
                <a:ext uri="{FF2B5EF4-FFF2-40B4-BE49-F238E27FC236}">
                  <a16:creationId xmlns:a16="http://schemas.microsoft.com/office/drawing/2014/main" id="{24153A48-4FF0-4F3D-8114-9B65DBA13BF3}"/>
                </a:ext>
              </a:extLst>
            </p:cNvPr>
            <p:cNvSpPr>
              <a:spLocks/>
            </p:cNvSpPr>
            <p:nvPr/>
          </p:nvSpPr>
          <p:spPr bwMode="auto">
            <a:xfrm>
              <a:off x="3882" y="2199"/>
              <a:ext cx="118" cy="144"/>
            </a:xfrm>
            <a:custGeom>
              <a:avLst/>
              <a:gdLst>
                <a:gd name="T0" fmla="*/ 57 w 57"/>
                <a:gd name="T1" fmla="*/ 28 h 69"/>
                <a:gd name="T2" fmla="*/ 24 w 57"/>
                <a:gd name="T3" fmla="*/ 38 h 69"/>
                <a:gd name="T4" fmla="*/ 0 w 57"/>
                <a:gd name="T5" fmla="*/ 0 h 69"/>
              </a:gdLst>
              <a:ahLst/>
              <a:cxnLst>
                <a:cxn ang="0">
                  <a:pos x="T0" y="T1"/>
                </a:cxn>
                <a:cxn ang="0">
                  <a:pos x="T2" y="T3"/>
                </a:cxn>
                <a:cxn ang="0">
                  <a:pos x="T4" y="T5"/>
                </a:cxn>
              </a:cxnLst>
              <a:rect l="0" t="0" r="r" b="b"/>
              <a:pathLst>
                <a:path w="57" h="69">
                  <a:moveTo>
                    <a:pt x="57" y="28"/>
                  </a:moveTo>
                  <a:cubicBezTo>
                    <a:pt x="55" y="34"/>
                    <a:pt x="41" y="69"/>
                    <a:pt x="24" y="38"/>
                  </a:cubicBezTo>
                  <a:cubicBezTo>
                    <a:pt x="0" y="0"/>
                    <a:pt x="0" y="0"/>
                    <a:pt x="0" y="0"/>
                  </a:cubicBezTo>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20" name="Oval 86">
              <a:extLst>
                <a:ext uri="{FF2B5EF4-FFF2-40B4-BE49-F238E27FC236}">
                  <a16:creationId xmlns:a16="http://schemas.microsoft.com/office/drawing/2014/main" id="{3EF44CB7-BEF7-48B5-AC55-8E8B2402D968}"/>
                </a:ext>
              </a:extLst>
            </p:cNvPr>
            <p:cNvSpPr>
              <a:spLocks noChangeArrowheads="1"/>
            </p:cNvSpPr>
            <p:nvPr/>
          </p:nvSpPr>
          <p:spPr bwMode="auto">
            <a:xfrm>
              <a:off x="4117" y="2206"/>
              <a:ext cx="13" cy="12"/>
            </a:xfrm>
            <a:prstGeom prst="ellipse">
              <a:avLst/>
            </a:pr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sp>
          <p:nvSpPr>
            <p:cNvPr id="21" name="Oval 87">
              <a:extLst>
                <a:ext uri="{FF2B5EF4-FFF2-40B4-BE49-F238E27FC236}">
                  <a16:creationId xmlns:a16="http://schemas.microsoft.com/office/drawing/2014/main" id="{EBE5CE4C-022B-4E5F-874E-109835526B9C}"/>
                </a:ext>
              </a:extLst>
            </p:cNvPr>
            <p:cNvSpPr>
              <a:spLocks noChangeArrowheads="1"/>
            </p:cNvSpPr>
            <p:nvPr/>
          </p:nvSpPr>
          <p:spPr bwMode="auto">
            <a:xfrm>
              <a:off x="3554" y="2181"/>
              <a:ext cx="13" cy="12"/>
            </a:xfrm>
            <a:prstGeom prst="ellipse">
              <a:avLst/>
            </a:pr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noProof="0">
                <a:ln>
                  <a:noFill/>
                </a:ln>
                <a:solidFill>
                  <a:sysClr val="windowText" lastClr="000000"/>
                </a:solidFill>
                <a:effectLst/>
                <a:uLnTx/>
                <a:uFillTx/>
              </a:endParaRPr>
            </a:p>
          </p:txBody>
        </p:sp>
      </p:grpSp>
      <p:pic>
        <p:nvPicPr>
          <p:cNvPr id="22" name="Image 3">
            <a:extLst>
              <a:ext uri="{FF2B5EF4-FFF2-40B4-BE49-F238E27FC236}">
                <a16:creationId xmlns:a16="http://schemas.microsoft.com/office/drawing/2014/main" id="{3A61AB3A-76B2-4B98-8B81-2B9194F151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81931" y="5567602"/>
            <a:ext cx="4028138" cy="1122194"/>
          </a:xfrm>
          <a:prstGeom prst="rect">
            <a:avLst/>
          </a:prstGeom>
        </p:spPr>
      </p:pic>
    </p:spTree>
    <p:extLst>
      <p:ext uri="{BB962C8B-B14F-4D97-AF65-F5344CB8AC3E}">
        <p14:creationId xmlns:p14="http://schemas.microsoft.com/office/powerpoint/2010/main" val="190927558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917"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sym typeface="Montserrat" panose="00000500000000000000" pitchFamily="2" charset="0"/>
            </a:endParaRPr>
          </a:p>
        </p:txBody>
      </p:sp>
      <p:sp>
        <p:nvSpPr>
          <p:cNvPr id="13" name="Espace réservé du numéro de diapositive 4">
            <a:extLst>
              <a:ext uri="{FF2B5EF4-FFF2-40B4-BE49-F238E27FC236}">
                <a16:creationId xmlns:a16="http://schemas.microsoft.com/office/drawing/2014/main" id="{E790D2E0-0F21-4621-8F06-C8A4B08D1CBE}"/>
              </a:ext>
            </a:extLst>
          </p:cNvPr>
          <p:cNvSpPr>
            <a:spLocks noGrp="1"/>
          </p:cNvSpPr>
          <p:nvPr>
            <p:ph type="sldNum" sz="quarter" idx="12"/>
          </p:nvPr>
        </p:nvSpPr>
        <p:spPr>
          <a:xfrm>
            <a:off x="11620500" y="6426200"/>
            <a:ext cx="350520" cy="24384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C5DC16-0D22-4C7F-9249-BF4D2D91D79F}" type="slidenum">
              <a:rPr kumimoji="0" lang="en-US" sz="1050" b="0" i="0" u="none" strike="noStrike" kern="1200" cap="none" spc="0" normalizeH="0" baseline="0" noProof="0" smtClean="0">
                <a:ln>
                  <a:noFill/>
                </a:ln>
                <a:solidFill>
                  <a:prstClr val="white">
                    <a:lumMod val="50000"/>
                  </a:prstClr>
                </a:solidFill>
                <a:effectLst/>
                <a:uLnTx/>
                <a:uFillTx/>
                <a:latin typeface="Montserrat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050" b="0" i="0" u="none" strike="noStrike" kern="1200" cap="none" spc="0" normalizeH="0" baseline="0" noProof="0" dirty="0">
              <a:ln>
                <a:noFill/>
              </a:ln>
              <a:solidFill>
                <a:prstClr val="white">
                  <a:lumMod val="50000"/>
                </a:prstClr>
              </a:solidFill>
              <a:effectLst/>
              <a:uLnTx/>
              <a:uFillTx/>
              <a:latin typeface="Montserrat SemiBold"/>
              <a:ea typeface="+mn-ea"/>
              <a:cs typeface="+mn-cs"/>
            </a:endParaRPr>
          </a:p>
        </p:txBody>
      </p:sp>
      <p:sp>
        <p:nvSpPr>
          <p:cNvPr id="7" name="Rectangle 6">
            <a:extLst>
              <a:ext uri="{FF2B5EF4-FFF2-40B4-BE49-F238E27FC236}">
                <a16:creationId xmlns:a16="http://schemas.microsoft.com/office/drawing/2014/main" id="{D9B4BC4A-103E-4CA0-9081-7728812D983C}"/>
              </a:ext>
            </a:extLst>
          </p:cNvPr>
          <p:cNvSpPr/>
          <p:nvPr/>
        </p:nvSpPr>
        <p:spPr>
          <a:xfrm>
            <a:off x="11567729" y="1751085"/>
            <a:ext cx="564948" cy="243840"/>
          </a:xfrm>
          <a:prstGeom prst="rect">
            <a:avLst/>
          </a:prstGeom>
          <a:solidFill>
            <a:srgbClr val="FCF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Montserrat SemiBold"/>
              <a:ea typeface="+mn-ea"/>
              <a:cs typeface="+mn-cs"/>
            </a:endParaRPr>
          </a:p>
        </p:txBody>
      </p:sp>
      <p:sp>
        <p:nvSpPr>
          <p:cNvPr id="21" name="Espace réservé du numéro de diapositive 4">
            <a:extLst>
              <a:ext uri="{FF2B5EF4-FFF2-40B4-BE49-F238E27FC236}">
                <a16:creationId xmlns:a16="http://schemas.microsoft.com/office/drawing/2014/main" id="{A1921471-1DCB-4375-B301-FB0821D1AFD5}"/>
              </a:ext>
            </a:extLst>
          </p:cNvPr>
          <p:cNvSpPr txBox="1">
            <a:spLocks/>
          </p:cNvSpPr>
          <p:nvPr/>
        </p:nvSpPr>
        <p:spPr>
          <a:xfrm>
            <a:off x="5083224" y="6578520"/>
            <a:ext cx="529925" cy="243840"/>
          </a:xfrm>
          <a:prstGeom prst="rect">
            <a:avLst/>
          </a:prstGeom>
        </p:spPr>
        <p:txBody>
          <a:bodyPr vert="horz" wrap="none" lIns="91440" tIns="45720" rIns="36000" bIns="45720" rtlCol="0" anchor="ctr"/>
          <a:lstStyle>
            <a:defPPr>
              <a:defRPr lang="en-US"/>
            </a:defPPr>
            <a:lvl1pPr marL="0" algn="r" defTabSz="914400" rtl="0" eaLnBrk="1" latinLnBrk="0" hangingPunct="1">
              <a:defRPr sz="105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2C5DC16-0D22-4C7F-9249-BF4D2D91D79F}" type="slidenum">
              <a:rPr kumimoji="0" lang="en-US" sz="1050" b="0" i="0" u="none" strike="noStrike" kern="1200" cap="none" spc="0" normalizeH="0" baseline="0" noProof="0" smtClean="0">
                <a:ln>
                  <a:noFill/>
                </a:ln>
                <a:solidFill>
                  <a:prstClr val="white">
                    <a:lumMod val="50000"/>
                  </a:prstClr>
                </a:solidFill>
                <a:effectLst/>
                <a:uLnTx/>
                <a:uFillTx/>
                <a:latin typeface="Montserrat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050" b="0" i="0" u="none" strike="noStrike" kern="1200" cap="none" spc="0" normalizeH="0" baseline="0" noProof="0" dirty="0">
              <a:ln>
                <a:noFill/>
              </a:ln>
              <a:solidFill>
                <a:prstClr val="white">
                  <a:lumMod val="50000"/>
                </a:prstClr>
              </a:solidFill>
              <a:effectLst/>
              <a:uLnTx/>
              <a:uFillTx/>
              <a:latin typeface="Montserrat SemiBold"/>
              <a:ea typeface="+mn-ea"/>
              <a:cs typeface="+mn-cs"/>
            </a:endParaRPr>
          </a:p>
        </p:txBody>
      </p:sp>
      <p:pic>
        <p:nvPicPr>
          <p:cNvPr id="152578" name="Picture 2" descr="How Working Agreements Help Scrum Teams — ClearlyAgile - Agile ...">
            <a:extLst>
              <a:ext uri="{FF2B5EF4-FFF2-40B4-BE49-F238E27FC236}">
                <a16:creationId xmlns:a16="http://schemas.microsoft.com/office/drawing/2014/main" id="{14DD410F-8FD5-499B-B856-E71A4116B55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5625"/>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C9E62A46-4635-40FA-8D20-5B0E75CB9ED9}"/>
              </a:ext>
            </a:extLst>
          </p:cNvPr>
          <p:cNvSpPr/>
          <p:nvPr/>
        </p:nvSpPr>
        <p:spPr>
          <a:xfrm>
            <a:off x="1" y="0"/>
            <a:ext cx="12191999" cy="6858000"/>
          </a:xfrm>
          <a:prstGeom prst="rect">
            <a:avLst/>
          </a:prstGeom>
          <a:solidFill>
            <a:srgbClr val="573EE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ontserrat SemiBold"/>
              <a:ea typeface="+mn-ea"/>
              <a:cs typeface="+mn-cs"/>
            </a:endParaRPr>
          </a:p>
        </p:txBody>
      </p:sp>
      <p:sp>
        <p:nvSpPr>
          <p:cNvPr id="22" name="ZoneTexte 21">
            <a:extLst>
              <a:ext uri="{FF2B5EF4-FFF2-40B4-BE49-F238E27FC236}">
                <a16:creationId xmlns:a16="http://schemas.microsoft.com/office/drawing/2014/main" id="{82E0A188-F435-40AE-8DD6-A049646DA017}"/>
              </a:ext>
            </a:extLst>
          </p:cNvPr>
          <p:cNvSpPr txBox="1"/>
          <p:nvPr/>
        </p:nvSpPr>
        <p:spPr>
          <a:xfrm>
            <a:off x="985740" y="2433557"/>
            <a:ext cx="10348432" cy="23083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0" cap="none" spc="0" normalizeH="0" baseline="0" noProof="0" dirty="0">
                <a:ln>
                  <a:noFill/>
                </a:ln>
                <a:solidFill>
                  <a:prstClr val="white"/>
                </a:solidFill>
                <a:effectLst/>
                <a:uLnTx/>
                <a:uFillTx/>
                <a:latin typeface="Montserrat ExtraBold" panose="00000900000000000000" pitchFamily="50" charset="0"/>
                <a:ea typeface="+mn-ea"/>
                <a:cs typeface="+mn-cs"/>
              </a:rPr>
              <a:t>We make it easier for your clients t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0" cap="none" spc="0" normalizeH="0" baseline="0" noProof="0" dirty="0">
                <a:ln>
                  <a:noFill/>
                </a:ln>
                <a:solidFill>
                  <a:prstClr val="white"/>
                </a:solidFill>
                <a:effectLst/>
                <a:uLnTx/>
                <a:uFillTx/>
                <a:latin typeface="Montserrat ExtraBold" panose="00000900000000000000" pitchFamily="50" charset="0"/>
                <a:ea typeface="+mn-ea"/>
                <a:cs typeface="+mn-cs"/>
              </a:rPr>
              <a:t>say yes NOW</a:t>
            </a:r>
            <a:endParaRPr kumimoji="0" lang="fr-FR" sz="4800" b="0" i="0" u="none" strike="noStrike" kern="1200" cap="none" spc="0" normalizeH="0" baseline="0" noProof="0" dirty="0">
              <a:ln>
                <a:noFill/>
              </a:ln>
              <a:solidFill>
                <a:prstClr val="white"/>
              </a:solidFill>
              <a:effectLst/>
              <a:uLnTx/>
              <a:uFillTx/>
              <a:latin typeface="Montserrat"/>
              <a:ea typeface="+mn-ea"/>
              <a:cs typeface="+mn-cs"/>
            </a:endParaRPr>
          </a:p>
        </p:txBody>
      </p:sp>
    </p:spTree>
    <p:extLst>
      <p:ext uri="{BB962C8B-B14F-4D97-AF65-F5344CB8AC3E}">
        <p14:creationId xmlns:p14="http://schemas.microsoft.com/office/powerpoint/2010/main" val="26883927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962B16B6-8273-DB43-8BA8-7B95395E232A}"/>
              </a:ext>
            </a:extLst>
          </p:cNvPr>
          <p:cNvSpPr txBox="1"/>
          <p:nvPr/>
        </p:nvSpPr>
        <p:spPr>
          <a:xfrm>
            <a:off x="121920" y="1742961"/>
            <a:ext cx="11174730" cy="2932534"/>
          </a:xfrm>
          <a:prstGeom prst="rect">
            <a:avLst/>
          </a:prstGeom>
        </p:spPr>
        <p:txBody>
          <a:bodyPr vert="horz" wrap="square" lIns="0" tIns="0" rIns="0" bIns="0" rtlCol="0" anchor="b" anchorCtr="0">
            <a:spAutoFit/>
          </a:bodyPr>
          <a:lstStyle/>
          <a:p>
            <a:pPr algn="r">
              <a:lnSpc>
                <a:spcPct val="150000"/>
              </a:lnSpc>
            </a:pPr>
            <a:r>
              <a:rPr lang="en-GB" sz="4400" dirty="0">
                <a:solidFill>
                  <a:schemeClr val="accent6"/>
                </a:solidFill>
                <a:latin typeface="+mj-lt"/>
              </a:rPr>
              <a:t>Europe’s largest </a:t>
            </a:r>
            <a:r>
              <a:rPr lang="en-GB" sz="4400" dirty="0">
                <a:solidFill>
                  <a:schemeClr val="bg1"/>
                </a:solidFill>
                <a:latin typeface="+mj-lt"/>
              </a:rPr>
              <a:t>independent provider of </a:t>
            </a:r>
            <a:r>
              <a:rPr lang="en-GB" sz="4400" dirty="0">
                <a:solidFill>
                  <a:schemeClr val="bg1"/>
                </a:solidFill>
                <a:highlight>
                  <a:srgbClr val="F9D957"/>
                </a:highlight>
                <a:latin typeface="+mj-lt"/>
              </a:rPr>
              <a:t>financing</a:t>
            </a:r>
            <a:r>
              <a:rPr lang="en-GB" sz="4400" dirty="0">
                <a:solidFill>
                  <a:schemeClr val="bg1"/>
                </a:solidFill>
                <a:latin typeface="+mj-lt"/>
              </a:rPr>
              <a:t> and </a:t>
            </a:r>
            <a:r>
              <a:rPr lang="en-GB" sz="4400" dirty="0">
                <a:solidFill>
                  <a:schemeClr val="bg1"/>
                </a:solidFill>
                <a:highlight>
                  <a:srgbClr val="F9D957"/>
                </a:highlight>
                <a:latin typeface="+mj-lt"/>
              </a:rPr>
              <a:t>as-a-service</a:t>
            </a:r>
            <a:r>
              <a:rPr lang="en-GB" sz="4400" dirty="0">
                <a:solidFill>
                  <a:schemeClr val="bg1"/>
                </a:solidFill>
                <a:latin typeface="+mj-lt"/>
              </a:rPr>
              <a:t> solutions for </a:t>
            </a:r>
            <a:r>
              <a:rPr lang="en-GB" sz="4400" dirty="0">
                <a:solidFill>
                  <a:schemeClr val="accent6"/>
                </a:solidFill>
                <a:latin typeface="+mj-lt"/>
              </a:rPr>
              <a:t>transformation</a:t>
            </a:r>
            <a:r>
              <a:rPr lang="en-GB" sz="4400" dirty="0">
                <a:solidFill>
                  <a:schemeClr val="bg1"/>
                </a:solidFill>
                <a:latin typeface="+mj-lt"/>
              </a:rPr>
              <a:t> projects </a:t>
            </a:r>
          </a:p>
        </p:txBody>
      </p:sp>
    </p:spTree>
    <p:extLst>
      <p:ext uri="{BB962C8B-B14F-4D97-AF65-F5344CB8AC3E}">
        <p14:creationId xmlns:p14="http://schemas.microsoft.com/office/powerpoint/2010/main" val="3347318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2D80F0-6F92-4F2C-BE4D-8BE7B2D298F6}"/>
              </a:ext>
            </a:extLst>
          </p:cNvPr>
          <p:cNvSpPr/>
          <p:nvPr/>
        </p:nvSpPr>
        <p:spPr>
          <a:xfrm>
            <a:off x="568622" y="3159330"/>
            <a:ext cx="2609868" cy="13230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solidFill>
                <a:schemeClr val="bg1"/>
              </a:solidFill>
            </a:endParaRPr>
          </a:p>
        </p:txBody>
      </p:sp>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69"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0000"/>
              </a:lnSpc>
              <a:spcBef>
                <a:spcPct val="0"/>
              </a:spcBef>
              <a:spcAft>
                <a:spcPct val="0"/>
              </a:spcAft>
            </a:pPr>
            <a:endParaRPr lang="en-US" sz="2800" b="1" dirty="0">
              <a:latin typeface="Montserrat" panose="00000500000000000000" pitchFamily="2" charset="0"/>
              <a:ea typeface="+mj-ea"/>
              <a:cs typeface="+mj-cs"/>
              <a:sym typeface="Montserrat" panose="00000500000000000000" pitchFamily="2" charset="0"/>
            </a:endParaRPr>
          </a:p>
        </p:txBody>
      </p:sp>
      <p:sp>
        <p:nvSpPr>
          <p:cNvPr id="6" name="Titre 5">
            <a:extLst>
              <a:ext uri="{FF2B5EF4-FFF2-40B4-BE49-F238E27FC236}">
                <a16:creationId xmlns:a16="http://schemas.microsoft.com/office/drawing/2014/main" id="{8AE33944-45A3-415C-9EBA-293C9717DF33}"/>
              </a:ext>
            </a:extLst>
          </p:cNvPr>
          <p:cNvSpPr>
            <a:spLocks noGrp="1"/>
          </p:cNvSpPr>
          <p:nvPr>
            <p:ph type="title"/>
          </p:nvPr>
        </p:nvSpPr>
        <p:spPr>
          <a:xfrm>
            <a:off x="874713" y="557077"/>
            <a:ext cx="11326650" cy="568076"/>
          </a:xfrm>
        </p:spPr>
        <p:txBody>
          <a:bodyPr/>
          <a:lstStyle/>
          <a:p>
            <a:r>
              <a:rPr lang="en-US" b="1" dirty="0"/>
              <a:t>Key figures</a:t>
            </a:r>
          </a:p>
        </p:txBody>
      </p:sp>
      <p:sp>
        <p:nvSpPr>
          <p:cNvPr id="25" name="Espace réservé du numéro de diapositive 4">
            <a:extLst>
              <a:ext uri="{FF2B5EF4-FFF2-40B4-BE49-F238E27FC236}">
                <a16:creationId xmlns:a16="http://schemas.microsoft.com/office/drawing/2014/main" id="{39AC7DC6-58EB-4CF9-954A-ACA76A797AC8}"/>
              </a:ext>
            </a:extLst>
          </p:cNvPr>
          <p:cNvSpPr>
            <a:spLocks noGrp="1"/>
          </p:cNvSpPr>
          <p:nvPr>
            <p:ph type="sldNum" sz="quarter" idx="4"/>
          </p:nvPr>
        </p:nvSpPr>
        <p:spPr/>
        <p:txBody>
          <a:bodyPr/>
          <a:lstStyle/>
          <a:p>
            <a:fld id="{12C5DC16-0D22-4C7F-9249-BF4D2D91D79F}" type="slidenum">
              <a:rPr lang="en-US" smtClean="0"/>
              <a:pPr/>
              <a:t>3</a:t>
            </a:fld>
            <a:endParaRPr lang="en-US" dirty="0"/>
          </a:p>
        </p:txBody>
      </p:sp>
      <p:sp>
        <p:nvSpPr>
          <p:cNvPr id="41" name="Rectangle 40">
            <a:extLst>
              <a:ext uri="{FF2B5EF4-FFF2-40B4-BE49-F238E27FC236}">
                <a16:creationId xmlns:a16="http://schemas.microsoft.com/office/drawing/2014/main" id="{937E80E2-D186-4157-B118-883064FDD325}"/>
              </a:ext>
            </a:extLst>
          </p:cNvPr>
          <p:cNvSpPr/>
          <p:nvPr/>
        </p:nvSpPr>
        <p:spPr>
          <a:xfrm>
            <a:off x="568622" y="1521904"/>
            <a:ext cx="2609868" cy="1412001"/>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200" b="1" dirty="0">
                <a:solidFill>
                  <a:schemeClr val="tx2"/>
                </a:solidFill>
                <a:latin typeface="+mj-lt"/>
              </a:rPr>
              <a:t>€2.6Bn</a:t>
            </a:r>
          </a:p>
        </p:txBody>
      </p:sp>
      <p:sp>
        <p:nvSpPr>
          <p:cNvPr id="43" name="Rectangle 42">
            <a:extLst>
              <a:ext uri="{FF2B5EF4-FFF2-40B4-BE49-F238E27FC236}">
                <a16:creationId xmlns:a16="http://schemas.microsoft.com/office/drawing/2014/main" id="{7A4894EA-4231-47E0-A347-BD2DB00C1EF2}"/>
              </a:ext>
            </a:extLst>
          </p:cNvPr>
          <p:cNvSpPr/>
          <p:nvPr/>
        </p:nvSpPr>
        <p:spPr>
          <a:xfrm>
            <a:off x="3381843" y="1521904"/>
            <a:ext cx="2609868" cy="1412001"/>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200" b="1" dirty="0">
                <a:solidFill>
                  <a:schemeClr val="tx2"/>
                </a:solidFill>
                <a:latin typeface="+mj-lt"/>
              </a:rPr>
              <a:t>9,200</a:t>
            </a:r>
          </a:p>
        </p:txBody>
      </p:sp>
      <p:sp>
        <p:nvSpPr>
          <p:cNvPr id="44" name="Rectangle 43">
            <a:extLst>
              <a:ext uri="{FF2B5EF4-FFF2-40B4-BE49-F238E27FC236}">
                <a16:creationId xmlns:a16="http://schemas.microsoft.com/office/drawing/2014/main" id="{045B76F5-3F6A-456E-BDAC-A2438D52C826}"/>
              </a:ext>
            </a:extLst>
          </p:cNvPr>
          <p:cNvSpPr/>
          <p:nvPr/>
        </p:nvSpPr>
        <p:spPr>
          <a:xfrm>
            <a:off x="9012808" y="1521904"/>
            <a:ext cx="2609868" cy="1412001"/>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200" b="1" dirty="0">
                <a:solidFill>
                  <a:srgbClr val="573EEF"/>
                </a:solidFill>
                <a:latin typeface="+mj-lt"/>
              </a:rPr>
              <a:t>48</a:t>
            </a:r>
          </a:p>
        </p:txBody>
      </p:sp>
      <p:sp>
        <p:nvSpPr>
          <p:cNvPr id="45" name="Rectangle 44">
            <a:extLst>
              <a:ext uri="{FF2B5EF4-FFF2-40B4-BE49-F238E27FC236}">
                <a16:creationId xmlns:a16="http://schemas.microsoft.com/office/drawing/2014/main" id="{DCB4EC11-CC69-4647-96AC-5CCA6E55723A}"/>
              </a:ext>
            </a:extLst>
          </p:cNvPr>
          <p:cNvSpPr/>
          <p:nvPr/>
        </p:nvSpPr>
        <p:spPr>
          <a:xfrm>
            <a:off x="6208152" y="1521904"/>
            <a:ext cx="2609868" cy="1412001"/>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200" b="1" dirty="0">
                <a:solidFill>
                  <a:schemeClr val="tx2"/>
                </a:solidFill>
                <a:latin typeface="+mj-lt"/>
              </a:rPr>
              <a:t>17</a:t>
            </a:r>
          </a:p>
        </p:txBody>
      </p:sp>
      <p:sp>
        <p:nvSpPr>
          <p:cNvPr id="48" name="Rectangle 47">
            <a:extLst>
              <a:ext uri="{FF2B5EF4-FFF2-40B4-BE49-F238E27FC236}">
                <a16:creationId xmlns:a16="http://schemas.microsoft.com/office/drawing/2014/main" id="{F54F0FEE-110D-4367-B8D5-C5A3295D6F4E}"/>
              </a:ext>
            </a:extLst>
          </p:cNvPr>
          <p:cNvSpPr/>
          <p:nvPr/>
        </p:nvSpPr>
        <p:spPr>
          <a:xfrm>
            <a:off x="3381843" y="3159331"/>
            <a:ext cx="2609868" cy="13230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solidFill>
                <a:schemeClr val="bg1"/>
              </a:solidFill>
            </a:endParaRPr>
          </a:p>
        </p:txBody>
      </p:sp>
      <p:sp>
        <p:nvSpPr>
          <p:cNvPr id="49" name="Rectangle 48">
            <a:extLst>
              <a:ext uri="{FF2B5EF4-FFF2-40B4-BE49-F238E27FC236}">
                <a16:creationId xmlns:a16="http://schemas.microsoft.com/office/drawing/2014/main" id="{EF7DCD30-F616-4370-91E8-14003B74B893}"/>
              </a:ext>
            </a:extLst>
          </p:cNvPr>
          <p:cNvSpPr/>
          <p:nvPr/>
        </p:nvSpPr>
        <p:spPr>
          <a:xfrm>
            <a:off x="3471386" y="3561007"/>
            <a:ext cx="2451114" cy="861774"/>
          </a:xfrm>
          <a:prstGeom prst="rect">
            <a:avLst/>
          </a:prstGeom>
        </p:spPr>
        <p:txBody>
          <a:bodyPr wrap="square" lIns="0" tIns="0" rIns="0" bIns="0" anchor="ctr">
            <a:spAutoFit/>
          </a:bodyPr>
          <a:lstStyle/>
          <a:p>
            <a:pPr algn="ctr"/>
            <a:r>
              <a:rPr lang="en-US" sz="2800" dirty="0">
                <a:solidFill>
                  <a:schemeClr val="bg1"/>
                </a:solidFill>
              </a:rPr>
              <a:t>employees</a:t>
            </a:r>
          </a:p>
          <a:p>
            <a:pPr lvl="0" algn="ctr"/>
            <a:endParaRPr lang="en-US" sz="2800" dirty="0">
              <a:solidFill>
                <a:schemeClr val="bg1"/>
              </a:solidFill>
            </a:endParaRPr>
          </a:p>
        </p:txBody>
      </p:sp>
      <p:sp>
        <p:nvSpPr>
          <p:cNvPr id="53" name="Rectangle 52">
            <a:extLst>
              <a:ext uri="{FF2B5EF4-FFF2-40B4-BE49-F238E27FC236}">
                <a16:creationId xmlns:a16="http://schemas.microsoft.com/office/drawing/2014/main" id="{CA717CBB-205B-40D3-B99B-A7F156FD328C}"/>
              </a:ext>
            </a:extLst>
          </p:cNvPr>
          <p:cNvSpPr/>
          <p:nvPr/>
        </p:nvSpPr>
        <p:spPr>
          <a:xfrm>
            <a:off x="9012808" y="3159331"/>
            <a:ext cx="2619805" cy="13230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solidFill>
                <a:schemeClr val="bg1"/>
              </a:solidFill>
            </a:endParaRPr>
          </a:p>
        </p:txBody>
      </p:sp>
      <p:sp>
        <p:nvSpPr>
          <p:cNvPr id="58" name="Rectangle 57">
            <a:extLst>
              <a:ext uri="{FF2B5EF4-FFF2-40B4-BE49-F238E27FC236}">
                <a16:creationId xmlns:a16="http://schemas.microsoft.com/office/drawing/2014/main" id="{2DC9720D-626B-471E-B2CC-DC6E8DD99DE4}"/>
              </a:ext>
            </a:extLst>
          </p:cNvPr>
          <p:cNvSpPr/>
          <p:nvPr/>
        </p:nvSpPr>
        <p:spPr>
          <a:xfrm>
            <a:off x="6208151" y="3159331"/>
            <a:ext cx="2609868" cy="13230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solidFill>
                <a:schemeClr val="bg1"/>
              </a:solidFill>
            </a:endParaRPr>
          </a:p>
        </p:txBody>
      </p:sp>
      <p:sp>
        <p:nvSpPr>
          <p:cNvPr id="59" name="Rectangle 58">
            <a:extLst>
              <a:ext uri="{FF2B5EF4-FFF2-40B4-BE49-F238E27FC236}">
                <a16:creationId xmlns:a16="http://schemas.microsoft.com/office/drawing/2014/main" id="{9D61DB91-58C4-4219-A848-F62A508E1C79}"/>
              </a:ext>
            </a:extLst>
          </p:cNvPr>
          <p:cNvSpPr/>
          <p:nvPr/>
        </p:nvSpPr>
        <p:spPr>
          <a:xfrm>
            <a:off x="6208151" y="3622562"/>
            <a:ext cx="2609867" cy="430887"/>
          </a:xfrm>
          <a:prstGeom prst="rect">
            <a:avLst/>
          </a:prstGeom>
        </p:spPr>
        <p:txBody>
          <a:bodyPr wrap="square" lIns="0" tIns="0" rIns="0" bIns="0" anchor="ctr">
            <a:spAutoFit/>
          </a:bodyPr>
          <a:lstStyle/>
          <a:p>
            <a:pPr lvl="0" algn="ctr"/>
            <a:r>
              <a:rPr lang="en-US" sz="2800" dirty="0">
                <a:solidFill>
                  <a:schemeClr val="bg1"/>
                </a:solidFill>
              </a:rPr>
              <a:t>countries</a:t>
            </a:r>
          </a:p>
        </p:txBody>
      </p:sp>
      <p:cxnSp>
        <p:nvCxnSpPr>
          <p:cNvPr id="63" name="Connecteur droit 62">
            <a:extLst>
              <a:ext uri="{FF2B5EF4-FFF2-40B4-BE49-F238E27FC236}">
                <a16:creationId xmlns:a16="http://schemas.microsoft.com/office/drawing/2014/main" id="{1DC02380-6F48-41F3-9D72-B39985964490}"/>
              </a:ext>
            </a:extLst>
          </p:cNvPr>
          <p:cNvCxnSpPr>
            <a:cxnSpLocks/>
          </p:cNvCxnSpPr>
          <p:nvPr/>
        </p:nvCxnSpPr>
        <p:spPr>
          <a:xfrm rot="5400000">
            <a:off x="1873556" y="2803034"/>
            <a:ext cx="0" cy="736139"/>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 name="Connecteur droit 63">
            <a:extLst>
              <a:ext uri="{FF2B5EF4-FFF2-40B4-BE49-F238E27FC236}">
                <a16:creationId xmlns:a16="http://schemas.microsoft.com/office/drawing/2014/main" id="{0990F573-C35A-46B2-BE12-D3497B4D2019}"/>
              </a:ext>
            </a:extLst>
          </p:cNvPr>
          <p:cNvCxnSpPr>
            <a:cxnSpLocks/>
          </p:cNvCxnSpPr>
          <p:nvPr/>
        </p:nvCxnSpPr>
        <p:spPr>
          <a:xfrm rot="5400000">
            <a:off x="4686777" y="2803035"/>
            <a:ext cx="0" cy="736139"/>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5" name="Connecteur droit 64">
            <a:extLst>
              <a:ext uri="{FF2B5EF4-FFF2-40B4-BE49-F238E27FC236}">
                <a16:creationId xmlns:a16="http://schemas.microsoft.com/office/drawing/2014/main" id="{C686514E-E4F6-4CFD-A813-4FDCDEBFFBF2}"/>
              </a:ext>
            </a:extLst>
          </p:cNvPr>
          <p:cNvCxnSpPr>
            <a:cxnSpLocks/>
          </p:cNvCxnSpPr>
          <p:nvPr/>
        </p:nvCxnSpPr>
        <p:spPr>
          <a:xfrm rot="5400000">
            <a:off x="10317742" y="2803036"/>
            <a:ext cx="0" cy="736139"/>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6" name="Connecteur droit 65">
            <a:extLst>
              <a:ext uri="{FF2B5EF4-FFF2-40B4-BE49-F238E27FC236}">
                <a16:creationId xmlns:a16="http://schemas.microsoft.com/office/drawing/2014/main" id="{1266122D-FD1C-4D79-9191-368D435078CB}"/>
              </a:ext>
            </a:extLst>
          </p:cNvPr>
          <p:cNvCxnSpPr>
            <a:cxnSpLocks/>
          </p:cNvCxnSpPr>
          <p:nvPr/>
        </p:nvCxnSpPr>
        <p:spPr>
          <a:xfrm rot="5400000">
            <a:off x="7513147" y="2803034"/>
            <a:ext cx="0" cy="736139"/>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AB80B5F6-301C-40E5-B360-E9C499BFE2E5}"/>
              </a:ext>
            </a:extLst>
          </p:cNvPr>
          <p:cNvSpPr/>
          <p:nvPr/>
        </p:nvSpPr>
        <p:spPr>
          <a:xfrm>
            <a:off x="568621" y="3429000"/>
            <a:ext cx="2609868" cy="861774"/>
          </a:xfrm>
          <a:prstGeom prst="rect">
            <a:avLst/>
          </a:prstGeom>
        </p:spPr>
        <p:txBody>
          <a:bodyPr wrap="square" lIns="0" tIns="0" rIns="0" bIns="0" anchor="ctr">
            <a:spAutoFit/>
          </a:bodyPr>
          <a:lstStyle/>
          <a:p>
            <a:pPr algn="ctr"/>
            <a:r>
              <a:rPr lang="en-US" sz="2800" dirty="0">
                <a:solidFill>
                  <a:schemeClr val="bg1"/>
                </a:solidFill>
              </a:rPr>
              <a:t>2020</a:t>
            </a:r>
          </a:p>
          <a:p>
            <a:pPr algn="ctr"/>
            <a:r>
              <a:rPr lang="en-US" sz="2800" dirty="0">
                <a:solidFill>
                  <a:schemeClr val="bg1"/>
                </a:solidFill>
              </a:rPr>
              <a:t>revenue</a:t>
            </a:r>
            <a:endParaRPr lang="en-US" sz="2800" baseline="30000" dirty="0">
              <a:solidFill>
                <a:schemeClr val="bg1"/>
              </a:solidFill>
            </a:endParaRPr>
          </a:p>
        </p:txBody>
      </p:sp>
      <p:sp>
        <p:nvSpPr>
          <p:cNvPr id="32" name="Rectangle 31">
            <a:extLst>
              <a:ext uri="{FF2B5EF4-FFF2-40B4-BE49-F238E27FC236}">
                <a16:creationId xmlns:a16="http://schemas.microsoft.com/office/drawing/2014/main" id="{40BDC14A-71B1-41DB-8F0D-DC971102F9B1}"/>
              </a:ext>
            </a:extLst>
          </p:cNvPr>
          <p:cNvSpPr/>
          <p:nvPr/>
        </p:nvSpPr>
        <p:spPr>
          <a:xfrm>
            <a:off x="9012807" y="3407118"/>
            <a:ext cx="2609868" cy="861774"/>
          </a:xfrm>
          <a:prstGeom prst="rect">
            <a:avLst/>
          </a:prstGeom>
        </p:spPr>
        <p:txBody>
          <a:bodyPr wrap="square" lIns="0" tIns="0" rIns="0" bIns="0" anchor="ctr">
            <a:spAutoFit/>
          </a:bodyPr>
          <a:lstStyle/>
          <a:p>
            <a:pPr lvl="0" algn="ctr"/>
            <a:r>
              <a:rPr lang="en-US" sz="2800" dirty="0">
                <a:solidFill>
                  <a:schemeClr val="bg1"/>
                </a:solidFill>
              </a:rPr>
              <a:t>years’ experience</a:t>
            </a:r>
            <a:endParaRPr lang="en-US" sz="2800" baseline="30000" dirty="0">
              <a:solidFill>
                <a:schemeClr val="bg1"/>
              </a:solidFill>
            </a:endParaRPr>
          </a:p>
        </p:txBody>
      </p:sp>
      <p:pic>
        <p:nvPicPr>
          <p:cNvPr id="5" name="Picture 4" descr="A picture containing clock, drawing&#10;&#10;Description automatically generated">
            <a:extLst>
              <a:ext uri="{FF2B5EF4-FFF2-40B4-BE49-F238E27FC236}">
                <a16:creationId xmlns:a16="http://schemas.microsoft.com/office/drawing/2014/main" id="{B02F3FA1-C839-4C08-84EC-7814A6997C6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4713" y="6219617"/>
            <a:ext cx="2150311" cy="216814"/>
          </a:xfrm>
          <a:prstGeom prst="rect">
            <a:avLst/>
          </a:prstGeom>
        </p:spPr>
      </p:pic>
    </p:spTree>
    <p:extLst>
      <p:ext uri="{BB962C8B-B14F-4D97-AF65-F5344CB8AC3E}">
        <p14:creationId xmlns:p14="http://schemas.microsoft.com/office/powerpoint/2010/main" val="37160969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2" name="Picture 18" descr="World Map Wallpaper For Windows 10 New Free Antique - Transparent  Background High Resolution World Map (#1913807) - HD Wallpaper &amp;  Backgrounds Download">
            <a:extLst>
              <a:ext uri="{FF2B5EF4-FFF2-40B4-BE49-F238E27FC236}">
                <a16:creationId xmlns:a16="http://schemas.microsoft.com/office/drawing/2014/main" id="{D47D0699-AFA9-4F48-AEA5-6E03F52D2183}"/>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8138" y="1606409"/>
            <a:ext cx="8211246" cy="4015813"/>
          </a:xfrm>
          <a:prstGeom prst="rect">
            <a:avLst/>
          </a:prstGeom>
          <a:noFill/>
          <a:extLst>
            <a:ext uri="{909E8E84-426E-40DD-AFC4-6F175D3DCCD1}">
              <a14:hiddenFill xmlns:a14="http://schemas.microsoft.com/office/drawing/2010/main">
                <a:solidFill>
                  <a:srgbClr val="FFFFFF"/>
                </a:solidFill>
              </a14:hiddenFill>
            </a:ext>
          </a:extLst>
        </p:spPr>
      </p:pic>
      <p:sp>
        <p:nvSpPr>
          <p:cNvPr id="4" name="Flowchart: Connector 3">
            <a:extLst>
              <a:ext uri="{FF2B5EF4-FFF2-40B4-BE49-F238E27FC236}">
                <a16:creationId xmlns:a16="http://schemas.microsoft.com/office/drawing/2014/main" id="{69657B5A-4DB0-4CDB-BFA1-984831A36FDE}"/>
              </a:ext>
            </a:extLst>
          </p:cNvPr>
          <p:cNvSpPr/>
          <p:nvPr/>
        </p:nvSpPr>
        <p:spPr>
          <a:xfrm>
            <a:off x="7053227" y="352652"/>
            <a:ext cx="5027934" cy="4872027"/>
          </a:xfrm>
          <a:prstGeom prst="flowChartConnector">
            <a:avLst/>
          </a:prstGeom>
          <a:solidFill>
            <a:schemeClr val="tx2">
              <a:alpha val="81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032" name="Picture 8" descr="Europe Map transparent PNG - StickPNG">
            <a:extLst>
              <a:ext uri="{FF2B5EF4-FFF2-40B4-BE49-F238E27FC236}">
                <a16:creationId xmlns:a16="http://schemas.microsoft.com/office/drawing/2014/main" id="{BF10BD73-1784-4AB6-9F03-3C2D5BF392D2}"/>
              </a:ext>
            </a:extLst>
          </p:cNvPr>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41532" y="928227"/>
            <a:ext cx="4540823" cy="3406209"/>
          </a:xfrm>
          <a:prstGeom prst="rect">
            <a:avLst/>
          </a:prstGeom>
          <a:noFill/>
          <a:extLst>
            <a:ext uri="{909E8E84-426E-40DD-AFC4-6F175D3DCCD1}">
              <a14:hiddenFill xmlns:a14="http://schemas.microsoft.com/office/drawing/2010/main">
                <a:solidFill>
                  <a:srgbClr val="FFFFFF"/>
                </a:solidFill>
              </a14:hiddenFill>
            </a:ext>
          </a:extLst>
        </p:spPr>
      </p:pic>
      <p:sp>
        <p:nvSpPr>
          <p:cNvPr id="10" name="Flowchart: Connector 9">
            <a:extLst>
              <a:ext uri="{FF2B5EF4-FFF2-40B4-BE49-F238E27FC236}">
                <a16:creationId xmlns:a16="http://schemas.microsoft.com/office/drawing/2014/main" id="{E787B369-055E-4732-8392-4940B321626A}"/>
              </a:ext>
            </a:extLst>
          </p:cNvPr>
          <p:cNvSpPr/>
          <p:nvPr/>
        </p:nvSpPr>
        <p:spPr>
          <a:xfrm>
            <a:off x="8646447" y="2903716"/>
            <a:ext cx="104885" cy="113636"/>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 name="Flowchart: Connector 14">
            <a:extLst>
              <a:ext uri="{FF2B5EF4-FFF2-40B4-BE49-F238E27FC236}">
                <a16:creationId xmlns:a16="http://schemas.microsoft.com/office/drawing/2014/main" id="{8E93759E-83F4-4C41-BB3C-8D9F00547354}"/>
              </a:ext>
            </a:extLst>
          </p:cNvPr>
          <p:cNvSpPr/>
          <p:nvPr/>
        </p:nvSpPr>
        <p:spPr>
          <a:xfrm>
            <a:off x="8446509" y="3187444"/>
            <a:ext cx="104885" cy="113636"/>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 name="Flowchart: Connector 15">
            <a:extLst>
              <a:ext uri="{FF2B5EF4-FFF2-40B4-BE49-F238E27FC236}">
                <a16:creationId xmlns:a16="http://schemas.microsoft.com/office/drawing/2014/main" id="{DAEBFD4F-BB7A-46CE-A97C-E4175667679F}"/>
              </a:ext>
            </a:extLst>
          </p:cNvPr>
          <p:cNvSpPr/>
          <p:nvPr/>
        </p:nvSpPr>
        <p:spPr>
          <a:xfrm>
            <a:off x="7860678" y="3692182"/>
            <a:ext cx="104885" cy="113636"/>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 name="Flowchart: Connector 16">
            <a:extLst>
              <a:ext uri="{FF2B5EF4-FFF2-40B4-BE49-F238E27FC236}">
                <a16:creationId xmlns:a16="http://schemas.microsoft.com/office/drawing/2014/main" id="{8F710D82-32DD-4812-936E-4EBE4F3948A1}"/>
              </a:ext>
            </a:extLst>
          </p:cNvPr>
          <p:cNvSpPr/>
          <p:nvPr/>
        </p:nvSpPr>
        <p:spPr>
          <a:xfrm>
            <a:off x="9053312" y="3692182"/>
            <a:ext cx="104885" cy="113636"/>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 name="Flowchart: Connector 17">
            <a:extLst>
              <a:ext uri="{FF2B5EF4-FFF2-40B4-BE49-F238E27FC236}">
                <a16:creationId xmlns:a16="http://schemas.microsoft.com/office/drawing/2014/main" id="{2231580A-BABD-4405-8BC3-629037A302A6}"/>
              </a:ext>
            </a:extLst>
          </p:cNvPr>
          <p:cNvSpPr/>
          <p:nvPr/>
        </p:nvSpPr>
        <p:spPr>
          <a:xfrm>
            <a:off x="1547815" y="2669955"/>
            <a:ext cx="121358" cy="129295"/>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 name="Flowchart: Connector 19">
            <a:extLst>
              <a:ext uri="{FF2B5EF4-FFF2-40B4-BE49-F238E27FC236}">
                <a16:creationId xmlns:a16="http://schemas.microsoft.com/office/drawing/2014/main" id="{D7F0E1F8-A3C2-49CB-86CB-05906D4BB85E}"/>
              </a:ext>
            </a:extLst>
          </p:cNvPr>
          <p:cNvSpPr/>
          <p:nvPr/>
        </p:nvSpPr>
        <p:spPr>
          <a:xfrm>
            <a:off x="3717397" y="2245623"/>
            <a:ext cx="1241570" cy="1199227"/>
          </a:xfrm>
          <a:prstGeom prst="flowChartConnector">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Flowchart: Connector 20">
            <a:extLst>
              <a:ext uri="{FF2B5EF4-FFF2-40B4-BE49-F238E27FC236}">
                <a16:creationId xmlns:a16="http://schemas.microsoft.com/office/drawing/2014/main" id="{F8546AF6-AD47-4F56-A98B-885BCDFE1CD7}"/>
              </a:ext>
            </a:extLst>
          </p:cNvPr>
          <p:cNvSpPr/>
          <p:nvPr/>
        </p:nvSpPr>
        <p:spPr>
          <a:xfrm>
            <a:off x="8956816" y="2960534"/>
            <a:ext cx="104885" cy="113636"/>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 name="Flowchart: Connector 21">
            <a:extLst>
              <a:ext uri="{FF2B5EF4-FFF2-40B4-BE49-F238E27FC236}">
                <a16:creationId xmlns:a16="http://schemas.microsoft.com/office/drawing/2014/main" id="{22E01CE3-8F1E-4601-A136-B0376AF6001D}"/>
              </a:ext>
            </a:extLst>
          </p:cNvPr>
          <p:cNvSpPr/>
          <p:nvPr/>
        </p:nvSpPr>
        <p:spPr>
          <a:xfrm>
            <a:off x="8751332" y="2757267"/>
            <a:ext cx="104885" cy="113636"/>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Flowchart: Connector 22">
            <a:extLst>
              <a:ext uri="{FF2B5EF4-FFF2-40B4-BE49-F238E27FC236}">
                <a16:creationId xmlns:a16="http://schemas.microsoft.com/office/drawing/2014/main" id="{117563A1-FF8C-4607-B179-578DFC444C56}"/>
              </a:ext>
            </a:extLst>
          </p:cNvPr>
          <p:cNvSpPr/>
          <p:nvPr/>
        </p:nvSpPr>
        <p:spPr>
          <a:xfrm>
            <a:off x="8796647" y="3280383"/>
            <a:ext cx="104885" cy="113636"/>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 name="Flowchart: Connector 23">
            <a:extLst>
              <a:ext uri="{FF2B5EF4-FFF2-40B4-BE49-F238E27FC236}">
                <a16:creationId xmlns:a16="http://schemas.microsoft.com/office/drawing/2014/main" id="{0B673824-462C-445E-8D98-102F86C6E669}"/>
              </a:ext>
            </a:extLst>
          </p:cNvPr>
          <p:cNvSpPr/>
          <p:nvPr/>
        </p:nvSpPr>
        <p:spPr>
          <a:xfrm>
            <a:off x="8739730" y="3018024"/>
            <a:ext cx="104885" cy="113636"/>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 name="Flowchart: Connector 25">
            <a:extLst>
              <a:ext uri="{FF2B5EF4-FFF2-40B4-BE49-F238E27FC236}">
                <a16:creationId xmlns:a16="http://schemas.microsoft.com/office/drawing/2014/main" id="{29204FD0-2B3A-4189-AA52-B2006277AC7B}"/>
              </a:ext>
            </a:extLst>
          </p:cNvPr>
          <p:cNvSpPr/>
          <p:nvPr/>
        </p:nvSpPr>
        <p:spPr>
          <a:xfrm>
            <a:off x="9287270" y="3074842"/>
            <a:ext cx="104885" cy="113636"/>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Flowchart: Connector 26">
            <a:extLst>
              <a:ext uri="{FF2B5EF4-FFF2-40B4-BE49-F238E27FC236}">
                <a16:creationId xmlns:a16="http://schemas.microsoft.com/office/drawing/2014/main" id="{23384E1C-E874-451A-B2C7-FD52AA9064A8}"/>
              </a:ext>
            </a:extLst>
          </p:cNvPr>
          <p:cNvSpPr/>
          <p:nvPr/>
        </p:nvSpPr>
        <p:spPr>
          <a:xfrm>
            <a:off x="9567194" y="2846898"/>
            <a:ext cx="104885" cy="113636"/>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 name="Flowchart: Connector 27">
            <a:extLst>
              <a:ext uri="{FF2B5EF4-FFF2-40B4-BE49-F238E27FC236}">
                <a16:creationId xmlns:a16="http://schemas.microsoft.com/office/drawing/2014/main" id="{CF7FF11D-D76C-4517-B421-2E875AD44B6E}"/>
              </a:ext>
            </a:extLst>
          </p:cNvPr>
          <p:cNvSpPr/>
          <p:nvPr/>
        </p:nvSpPr>
        <p:spPr>
          <a:xfrm>
            <a:off x="8358402" y="2677418"/>
            <a:ext cx="104885" cy="113636"/>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 name="Flowchart: Connector 28">
            <a:extLst>
              <a:ext uri="{FF2B5EF4-FFF2-40B4-BE49-F238E27FC236}">
                <a16:creationId xmlns:a16="http://schemas.microsoft.com/office/drawing/2014/main" id="{4182060E-7D76-43ED-AD55-473EF0603CC2}"/>
              </a:ext>
            </a:extLst>
          </p:cNvPr>
          <p:cNvSpPr/>
          <p:nvPr/>
        </p:nvSpPr>
        <p:spPr>
          <a:xfrm>
            <a:off x="9905629" y="3394019"/>
            <a:ext cx="104885" cy="113636"/>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 name="Flowchart: Connector 29">
            <a:extLst>
              <a:ext uri="{FF2B5EF4-FFF2-40B4-BE49-F238E27FC236}">
                <a16:creationId xmlns:a16="http://schemas.microsoft.com/office/drawing/2014/main" id="{429E7725-4905-4A60-91F6-5DB3F67012B4}"/>
              </a:ext>
            </a:extLst>
          </p:cNvPr>
          <p:cNvSpPr/>
          <p:nvPr/>
        </p:nvSpPr>
        <p:spPr>
          <a:xfrm>
            <a:off x="9212123" y="3258274"/>
            <a:ext cx="104885" cy="113636"/>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2" name="Flowchart: Connector 31">
            <a:extLst>
              <a:ext uri="{FF2B5EF4-FFF2-40B4-BE49-F238E27FC236}">
                <a16:creationId xmlns:a16="http://schemas.microsoft.com/office/drawing/2014/main" id="{9D2A5D2C-34C1-44D6-806D-88B1FC999F52}"/>
              </a:ext>
            </a:extLst>
          </p:cNvPr>
          <p:cNvSpPr/>
          <p:nvPr/>
        </p:nvSpPr>
        <p:spPr>
          <a:xfrm>
            <a:off x="8010691" y="2472798"/>
            <a:ext cx="104885" cy="113636"/>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2" name="Title 2">
            <a:extLst>
              <a:ext uri="{FF2B5EF4-FFF2-40B4-BE49-F238E27FC236}">
                <a16:creationId xmlns:a16="http://schemas.microsoft.com/office/drawing/2014/main" id="{77011786-D75F-4265-A5AC-2AE70E7E11C8}"/>
              </a:ext>
            </a:extLst>
          </p:cNvPr>
          <p:cNvSpPr txBox="1">
            <a:spLocks/>
          </p:cNvSpPr>
          <p:nvPr/>
        </p:nvSpPr>
        <p:spPr>
          <a:xfrm>
            <a:off x="1516900" y="2637286"/>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45" name="Flowchart: Connector 44">
            <a:extLst>
              <a:ext uri="{FF2B5EF4-FFF2-40B4-BE49-F238E27FC236}">
                <a16:creationId xmlns:a16="http://schemas.microsoft.com/office/drawing/2014/main" id="{B7ECE5B7-C9C4-443D-A79D-9DD387C7C700}"/>
              </a:ext>
            </a:extLst>
          </p:cNvPr>
          <p:cNvSpPr/>
          <p:nvPr/>
        </p:nvSpPr>
        <p:spPr>
          <a:xfrm>
            <a:off x="1750906" y="3165916"/>
            <a:ext cx="121358" cy="129295"/>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6" name="Title 2">
            <a:extLst>
              <a:ext uri="{FF2B5EF4-FFF2-40B4-BE49-F238E27FC236}">
                <a16:creationId xmlns:a16="http://schemas.microsoft.com/office/drawing/2014/main" id="{82A5E0B9-6407-4CAC-B02A-4AC01061973D}"/>
              </a:ext>
            </a:extLst>
          </p:cNvPr>
          <p:cNvSpPr txBox="1">
            <a:spLocks/>
          </p:cNvSpPr>
          <p:nvPr/>
        </p:nvSpPr>
        <p:spPr>
          <a:xfrm>
            <a:off x="1720432" y="3127263"/>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48" name="Flowchart: Connector 47">
            <a:extLst>
              <a:ext uri="{FF2B5EF4-FFF2-40B4-BE49-F238E27FC236}">
                <a16:creationId xmlns:a16="http://schemas.microsoft.com/office/drawing/2014/main" id="{181ED751-A7CC-4B5C-8379-A49E63A04F6C}"/>
              </a:ext>
            </a:extLst>
          </p:cNvPr>
          <p:cNvSpPr/>
          <p:nvPr/>
        </p:nvSpPr>
        <p:spPr>
          <a:xfrm>
            <a:off x="1662842" y="3531250"/>
            <a:ext cx="121358" cy="129295"/>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9" name="Flowchart: Connector 48">
            <a:extLst>
              <a:ext uri="{FF2B5EF4-FFF2-40B4-BE49-F238E27FC236}">
                <a16:creationId xmlns:a16="http://schemas.microsoft.com/office/drawing/2014/main" id="{02E1A4C9-F303-4BD0-B1E4-9227D943C8D9}"/>
              </a:ext>
            </a:extLst>
          </p:cNvPr>
          <p:cNvSpPr/>
          <p:nvPr/>
        </p:nvSpPr>
        <p:spPr>
          <a:xfrm>
            <a:off x="3880408" y="3365402"/>
            <a:ext cx="121358" cy="129295"/>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0" name="Title 2">
            <a:extLst>
              <a:ext uri="{FF2B5EF4-FFF2-40B4-BE49-F238E27FC236}">
                <a16:creationId xmlns:a16="http://schemas.microsoft.com/office/drawing/2014/main" id="{CF835424-BB81-4FBC-B6A6-E12ABBB9111A}"/>
              </a:ext>
            </a:extLst>
          </p:cNvPr>
          <p:cNvSpPr txBox="1">
            <a:spLocks/>
          </p:cNvSpPr>
          <p:nvPr/>
        </p:nvSpPr>
        <p:spPr>
          <a:xfrm>
            <a:off x="3844085" y="3330151"/>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51" name="Title 2">
            <a:extLst>
              <a:ext uri="{FF2B5EF4-FFF2-40B4-BE49-F238E27FC236}">
                <a16:creationId xmlns:a16="http://schemas.microsoft.com/office/drawing/2014/main" id="{2F1B528A-AFDB-46E8-98D5-D1A5DDD10DCB}"/>
              </a:ext>
            </a:extLst>
          </p:cNvPr>
          <p:cNvSpPr txBox="1">
            <a:spLocks/>
          </p:cNvSpPr>
          <p:nvPr/>
        </p:nvSpPr>
        <p:spPr>
          <a:xfrm>
            <a:off x="1631386" y="3489965"/>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52" name="Title 2">
            <a:extLst>
              <a:ext uri="{FF2B5EF4-FFF2-40B4-BE49-F238E27FC236}">
                <a16:creationId xmlns:a16="http://schemas.microsoft.com/office/drawing/2014/main" id="{51F6B318-C6A2-49EC-BA4B-514CD5AB2A6F}"/>
              </a:ext>
            </a:extLst>
          </p:cNvPr>
          <p:cNvSpPr txBox="1">
            <a:spLocks/>
          </p:cNvSpPr>
          <p:nvPr/>
        </p:nvSpPr>
        <p:spPr>
          <a:xfrm>
            <a:off x="7969959" y="2428270"/>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53" name="Title 2">
            <a:extLst>
              <a:ext uri="{FF2B5EF4-FFF2-40B4-BE49-F238E27FC236}">
                <a16:creationId xmlns:a16="http://schemas.microsoft.com/office/drawing/2014/main" id="{42D1C75F-99A0-4A3B-9E8D-36FEE50BA3D4}"/>
              </a:ext>
            </a:extLst>
          </p:cNvPr>
          <p:cNvSpPr txBox="1">
            <a:spLocks/>
          </p:cNvSpPr>
          <p:nvPr/>
        </p:nvSpPr>
        <p:spPr>
          <a:xfrm>
            <a:off x="8319895" y="2631331"/>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54" name="Title 2">
            <a:extLst>
              <a:ext uri="{FF2B5EF4-FFF2-40B4-BE49-F238E27FC236}">
                <a16:creationId xmlns:a16="http://schemas.microsoft.com/office/drawing/2014/main" id="{9740F429-08CD-4E79-8FCE-B83D35314D27}"/>
              </a:ext>
            </a:extLst>
          </p:cNvPr>
          <p:cNvSpPr txBox="1">
            <a:spLocks/>
          </p:cNvSpPr>
          <p:nvPr/>
        </p:nvSpPr>
        <p:spPr>
          <a:xfrm>
            <a:off x="8410844" y="3143302"/>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55" name="Title 2">
            <a:extLst>
              <a:ext uri="{FF2B5EF4-FFF2-40B4-BE49-F238E27FC236}">
                <a16:creationId xmlns:a16="http://schemas.microsoft.com/office/drawing/2014/main" id="{07E6FD21-21C7-42C6-9A65-9A7DFEC111D1}"/>
              </a:ext>
            </a:extLst>
          </p:cNvPr>
          <p:cNvSpPr txBox="1">
            <a:spLocks/>
          </p:cNvSpPr>
          <p:nvPr/>
        </p:nvSpPr>
        <p:spPr>
          <a:xfrm>
            <a:off x="7823599" y="3649707"/>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56" name="Title 2">
            <a:extLst>
              <a:ext uri="{FF2B5EF4-FFF2-40B4-BE49-F238E27FC236}">
                <a16:creationId xmlns:a16="http://schemas.microsoft.com/office/drawing/2014/main" id="{E8B3DCD4-2D6D-4F2B-9D18-D4919E014C26}"/>
              </a:ext>
            </a:extLst>
          </p:cNvPr>
          <p:cNvSpPr txBox="1">
            <a:spLocks/>
          </p:cNvSpPr>
          <p:nvPr/>
        </p:nvSpPr>
        <p:spPr>
          <a:xfrm>
            <a:off x="8608265" y="2855701"/>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57" name="Title 2">
            <a:extLst>
              <a:ext uri="{FF2B5EF4-FFF2-40B4-BE49-F238E27FC236}">
                <a16:creationId xmlns:a16="http://schemas.microsoft.com/office/drawing/2014/main" id="{031F7FDC-6034-4B9E-8603-464B1E86A186}"/>
              </a:ext>
            </a:extLst>
          </p:cNvPr>
          <p:cNvSpPr txBox="1">
            <a:spLocks/>
          </p:cNvSpPr>
          <p:nvPr/>
        </p:nvSpPr>
        <p:spPr>
          <a:xfrm>
            <a:off x="8712365" y="2711353"/>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58" name="Title 2">
            <a:extLst>
              <a:ext uri="{FF2B5EF4-FFF2-40B4-BE49-F238E27FC236}">
                <a16:creationId xmlns:a16="http://schemas.microsoft.com/office/drawing/2014/main" id="{77522018-357A-48EA-9AAF-4ECE9C9F7E32}"/>
              </a:ext>
            </a:extLst>
          </p:cNvPr>
          <p:cNvSpPr txBox="1">
            <a:spLocks/>
          </p:cNvSpPr>
          <p:nvPr/>
        </p:nvSpPr>
        <p:spPr>
          <a:xfrm>
            <a:off x="8701354" y="2972824"/>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59" name="Title 2">
            <a:extLst>
              <a:ext uri="{FF2B5EF4-FFF2-40B4-BE49-F238E27FC236}">
                <a16:creationId xmlns:a16="http://schemas.microsoft.com/office/drawing/2014/main" id="{A16EA863-B253-4BB6-A260-45E85F726F85}"/>
              </a:ext>
            </a:extLst>
          </p:cNvPr>
          <p:cNvSpPr txBox="1">
            <a:spLocks/>
          </p:cNvSpPr>
          <p:nvPr/>
        </p:nvSpPr>
        <p:spPr>
          <a:xfrm>
            <a:off x="8920591" y="2914337"/>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60" name="Title 2">
            <a:extLst>
              <a:ext uri="{FF2B5EF4-FFF2-40B4-BE49-F238E27FC236}">
                <a16:creationId xmlns:a16="http://schemas.microsoft.com/office/drawing/2014/main" id="{DD33737A-5555-49E9-9076-45CF4A91B6FC}"/>
              </a:ext>
            </a:extLst>
          </p:cNvPr>
          <p:cNvSpPr txBox="1">
            <a:spLocks/>
          </p:cNvSpPr>
          <p:nvPr/>
        </p:nvSpPr>
        <p:spPr>
          <a:xfrm>
            <a:off x="8760982" y="3233654"/>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61" name="Title 2">
            <a:extLst>
              <a:ext uri="{FF2B5EF4-FFF2-40B4-BE49-F238E27FC236}">
                <a16:creationId xmlns:a16="http://schemas.microsoft.com/office/drawing/2014/main" id="{B6452592-CBE2-4EA2-A953-C852FAEE7445}"/>
              </a:ext>
            </a:extLst>
          </p:cNvPr>
          <p:cNvSpPr txBox="1">
            <a:spLocks/>
          </p:cNvSpPr>
          <p:nvPr/>
        </p:nvSpPr>
        <p:spPr>
          <a:xfrm>
            <a:off x="9172999" y="3211959"/>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62" name="Title 2">
            <a:extLst>
              <a:ext uri="{FF2B5EF4-FFF2-40B4-BE49-F238E27FC236}">
                <a16:creationId xmlns:a16="http://schemas.microsoft.com/office/drawing/2014/main" id="{91425A7F-7AFC-44A3-817D-4158A732373D}"/>
              </a:ext>
            </a:extLst>
          </p:cNvPr>
          <p:cNvSpPr txBox="1">
            <a:spLocks/>
          </p:cNvSpPr>
          <p:nvPr/>
        </p:nvSpPr>
        <p:spPr>
          <a:xfrm>
            <a:off x="9249511" y="3030314"/>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63" name="Title 2">
            <a:extLst>
              <a:ext uri="{FF2B5EF4-FFF2-40B4-BE49-F238E27FC236}">
                <a16:creationId xmlns:a16="http://schemas.microsoft.com/office/drawing/2014/main" id="{B0720E4F-E6F8-4270-B87F-F81D75D944B0}"/>
              </a:ext>
            </a:extLst>
          </p:cNvPr>
          <p:cNvSpPr txBox="1">
            <a:spLocks/>
          </p:cNvSpPr>
          <p:nvPr/>
        </p:nvSpPr>
        <p:spPr>
          <a:xfrm>
            <a:off x="9530593" y="2799844"/>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64" name="Title 2">
            <a:extLst>
              <a:ext uri="{FF2B5EF4-FFF2-40B4-BE49-F238E27FC236}">
                <a16:creationId xmlns:a16="http://schemas.microsoft.com/office/drawing/2014/main" id="{2A36D0C6-9FC7-4AD7-B589-BCF75724F629}"/>
              </a:ext>
            </a:extLst>
          </p:cNvPr>
          <p:cNvSpPr txBox="1">
            <a:spLocks/>
          </p:cNvSpPr>
          <p:nvPr/>
        </p:nvSpPr>
        <p:spPr>
          <a:xfrm>
            <a:off x="9014345" y="3645811"/>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65" name="Title 2">
            <a:extLst>
              <a:ext uri="{FF2B5EF4-FFF2-40B4-BE49-F238E27FC236}">
                <a16:creationId xmlns:a16="http://schemas.microsoft.com/office/drawing/2014/main" id="{B604F150-15E1-4EC7-BC71-903AB06A313A}"/>
              </a:ext>
            </a:extLst>
          </p:cNvPr>
          <p:cNvSpPr txBox="1">
            <a:spLocks/>
          </p:cNvSpPr>
          <p:nvPr/>
        </p:nvSpPr>
        <p:spPr>
          <a:xfrm>
            <a:off x="9869969" y="3349491"/>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43" name="Titre 5">
            <a:extLst>
              <a:ext uri="{FF2B5EF4-FFF2-40B4-BE49-F238E27FC236}">
                <a16:creationId xmlns:a16="http://schemas.microsoft.com/office/drawing/2014/main" id="{B0C6FF82-E9AB-466C-AF8D-8A74C0235A47}"/>
              </a:ext>
            </a:extLst>
          </p:cNvPr>
          <p:cNvSpPr txBox="1">
            <a:spLocks/>
          </p:cNvSpPr>
          <p:nvPr/>
        </p:nvSpPr>
        <p:spPr>
          <a:xfrm>
            <a:off x="721286" y="529018"/>
            <a:ext cx="11326650" cy="568076"/>
          </a:xfrm>
          <a:prstGeom prst="rect">
            <a:avLst/>
          </a:prstGeom>
        </p:spPr>
        <p:txBody>
          <a:bodyPr vert="horz" lIns="0" tIns="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33008E"/>
                </a:solidFill>
                <a:effectLst/>
                <a:uLnTx/>
                <a:uFillTx/>
                <a:latin typeface="Montserrat"/>
                <a:ea typeface="+mj-ea"/>
                <a:cs typeface="+mj-cs"/>
              </a:rPr>
              <a:t>Worldwide </a:t>
            </a:r>
            <a:r>
              <a:rPr lang="en-US" dirty="0">
                <a:solidFill>
                  <a:srgbClr val="33008E"/>
                </a:solidFill>
                <a:latin typeface="Montserrat"/>
              </a:rPr>
              <a:t>activities</a:t>
            </a:r>
            <a:endParaRPr kumimoji="0" lang="en-US" sz="2800" b="1" i="0" u="none" strike="noStrike" kern="1200" cap="none" spc="0" normalizeH="0" baseline="0" noProof="0" dirty="0">
              <a:ln>
                <a:noFill/>
              </a:ln>
              <a:solidFill>
                <a:srgbClr val="33008E"/>
              </a:solidFill>
              <a:effectLst/>
              <a:uLnTx/>
              <a:uFillTx/>
              <a:latin typeface="Montserrat"/>
              <a:ea typeface="+mj-ea"/>
              <a:cs typeface="+mj-cs"/>
            </a:endParaRPr>
          </a:p>
        </p:txBody>
      </p:sp>
      <p:sp>
        <p:nvSpPr>
          <p:cNvPr id="47" name="Flowchart: Connector 46">
            <a:extLst>
              <a:ext uri="{FF2B5EF4-FFF2-40B4-BE49-F238E27FC236}">
                <a16:creationId xmlns:a16="http://schemas.microsoft.com/office/drawing/2014/main" id="{0AC92E63-4381-4716-AF6A-F234FD68C0C5}"/>
              </a:ext>
            </a:extLst>
          </p:cNvPr>
          <p:cNvSpPr/>
          <p:nvPr/>
        </p:nvSpPr>
        <p:spPr>
          <a:xfrm>
            <a:off x="454064" y="6028965"/>
            <a:ext cx="121358" cy="129295"/>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6" name="Title 2">
            <a:extLst>
              <a:ext uri="{FF2B5EF4-FFF2-40B4-BE49-F238E27FC236}">
                <a16:creationId xmlns:a16="http://schemas.microsoft.com/office/drawing/2014/main" id="{BCC277AF-A879-41F2-A88E-712C4FFF4779}"/>
              </a:ext>
            </a:extLst>
          </p:cNvPr>
          <p:cNvSpPr txBox="1">
            <a:spLocks/>
          </p:cNvSpPr>
          <p:nvPr/>
        </p:nvSpPr>
        <p:spPr>
          <a:xfrm>
            <a:off x="424632" y="5992389"/>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67" name="Flowchart: Connector 66">
            <a:extLst>
              <a:ext uri="{FF2B5EF4-FFF2-40B4-BE49-F238E27FC236}">
                <a16:creationId xmlns:a16="http://schemas.microsoft.com/office/drawing/2014/main" id="{36CCD89B-7DFC-4A05-8923-FA998C0E7590}"/>
              </a:ext>
            </a:extLst>
          </p:cNvPr>
          <p:cNvSpPr/>
          <p:nvPr/>
        </p:nvSpPr>
        <p:spPr>
          <a:xfrm>
            <a:off x="454064" y="6376664"/>
            <a:ext cx="121358" cy="129295"/>
          </a:xfrm>
          <a:prstGeom prst="flowChartConnector">
            <a:avLst/>
          </a:prstGeom>
          <a:solidFill>
            <a:schemeClr val="accent5"/>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8" name="Title 2">
            <a:extLst>
              <a:ext uri="{FF2B5EF4-FFF2-40B4-BE49-F238E27FC236}">
                <a16:creationId xmlns:a16="http://schemas.microsoft.com/office/drawing/2014/main" id="{8B11663E-268F-491C-A4DD-AD942840B636}"/>
              </a:ext>
            </a:extLst>
          </p:cNvPr>
          <p:cNvSpPr txBox="1">
            <a:spLocks/>
          </p:cNvSpPr>
          <p:nvPr/>
        </p:nvSpPr>
        <p:spPr>
          <a:xfrm>
            <a:off x="424632" y="6336123"/>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2" name="TextBox 1">
            <a:extLst>
              <a:ext uri="{FF2B5EF4-FFF2-40B4-BE49-F238E27FC236}">
                <a16:creationId xmlns:a16="http://schemas.microsoft.com/office/drawing/2014/main" id="{1BC4C91C-5198-4E5D-AD7D-FFF005CAAF73}"/>
              </a:ext>
            </a:extLst>
          </p:cNvPr>
          <p:cNvSpPr txBox="1"/>
          <p:nvPr/>
        </p:nvSpPr>
        <p:spPr>
          <a:xfrm>
            <a:off x="721286" y="5996662"/>
            <a:ext cx="2109000" cy="215444"/>
          </a:xfrm>
          <a:prstGeom prst="rect">
            <a:avLst/>
          </a:prstGeom>
        </p:spPr>
        <p:txBody>
          <a:bodyPr vert="horz" wrap="square" lIns="0" tIns="0" rIns="0" bIns="0" rtlCol="0" anchor="b" anchorCtr="0">
            <a:spAutoFit/>
          </a:bodyPr>
          <a:lstStyle/>
          <a:p>
            <a:pPr algn="l"/>
            <a:r>
              <a:rPr lang="en-GB" sz="1400" dirty="0">
                <a:latin typeface="Montserrat" panose="00000500000000000000" pitchFamily="2" charset="0"/>
              </a:rPr>
              <a:t>Local presence</a:t>
            </a:r>
          </a:p>
        </p:txBody>
      </p:sp>
      <p:sp>
        <p:nvSpPr>
          <p:cNvPr id="69" name="TextBox 68">
            <a:extLst>
              <a:ext uri="{FF2B5EF4-FFF2-40B4-BE49-F238E27FC236}">
                <a16:creationId xmlns:a16="http://schemas.microsoft.com/office/drawing/2014/main" id="{116333F6-356C-4198-B685-299D88D5FD95}"/>
              </a:ext>
            </a:extLst>
          </p:cNvPr>
          <p:cNvSpPr txBox="1"/>
          <p:nvPr/>
        </p:nvSpPr>
        <p:spPr>
          <a:xfrm>
            <a:off x="721286" y="6333588"/>
            <a:ext cx="2109000" cy="215444"/>
          </a:xfrm>
          <a:prstGeom prst="rect">
            <a:avLst/>
          </a:prstGeom>
        </p:spPr>
        <p:txBody>
          <a:bodyPr vert="horz" wrap="square" lIns="0" tIns="0" rIns="0" bIns="0" rtlCol="0" anchor="b" anchorCtr="0">
            <a:spAutoFit/>
          </a:bodyPr>
          <a:lstStyle/>
          <a:p>
            <a:pPr algn="l"/>
            <a:r>
              <a:rPr lang="en-GB" sz="1400" dirty="0">
                <a:latin typeface="Montserrat" panose="00000500000000000000" pitchFamily="2" charset="0"/>
              </a:rPr>
              <a:t>Cross-border deals</a:t>
            </a:r>
          </a:p>
        </p:txBody>
      </p:sp>
      <p:sp>
        <p:nvSpPr>
          <p:cNvPr id="74" name="Flowchart: Connector 73">
            <a:extLst>
              <a:ext uri="{FF2B5EF4-FFF2-40B4-BE49-F238E27FC236}">
                <a16:creationId xmlns:a16="http://schemas.microsoft.com/office/drawing/2014/main" id="{487C4343-7103-4CCA-900B-C5EAC68B6774}"/>
              </a:ext>
            </a:extLst>
          </p:cNvPr>
          <p:cNvSpPr/>
          <p:nvPr/>
        </p:nvSpPr>
        <p:spPr>
          <a:xfrm>
            <a:off x="6580362" y="3535768"/>
            <a:ext cx="121358" cy="129295"/>
          </a:xfrm>
          <a:prstGeom prst="flowChartConnector">
            <a:avLst/>
          </a:prstGeom>
          <a:solidFill>
            <a:schemeClr val="accent5"/>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5" name="Flowchart: Connector 74">
            <a:extLst>
              <a:ext uri="{FF2B5EF4-FFF2-40B4-BE49-F238E27FC236}">
                <a16:creationId xmlns:a16="http://schemas.microsoft.com/office/drawing/2014/main" id="{435DA7A3-0585-40EA-8D1C-83BE3118BDD2}"/>
              </a:ext>
            </a:extLst>
          </p:cNvPr>
          <p:cNvSpPr/>
          <p:nvPr/>
        </p:nvSpPr>
        <p:spPr>
          <a:xfrm>
            <a:off x="6357577" y="4028826"/>
            <a:ext cx="121358" cy="129295"/>
          </a:xfrm>
          <a:prstGeom prst="flowChartConnector">
            <a:avLst/>
          </a:prstGeom>
          <a:solidFill>
            <a:schemeClr val="accent5"/>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6" name="Title 2">
            <a:extLst>
              <a:ext uri="{FF2B5EF4-FFF2-40B4-BE49-F238E27FC236}">
                <a16:creationId xmlns:a16="http://schemas.microsoft.com/office/drawing/2014/main" id="{A5A0BB62-B9DA-4578-8D07-22D12BEF18F2}"/>
              </a:ext>
            </a:extLst>
          </p:cNvPr>
          <p:cNvSpPr txBox="1">
            <a:spLocks/>
          </p:cNvSpPr>
          <p:nvPr/>
        </p:nvSpPr>
        <p:spPr>
          <a:xfrm>
            <a:off x="6326724" y="3992250"/>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
        <p:nvSpPr>
          <p:cNvPr id="77" name="Title 2">
            <a:extLst>
              <a:ext uri="{FF2B5EF4-FFF2-40B4-BE49-F238E27FC236}">
                <a16:creationId xmlns:a16="http://schemas.microsoft.com/office/drawing/2014/main" id="{BF46EE1E-1EE8-4F86-A1DD-32173CCB83F8}"/>
              </a:ext>
            </a:extLst>
          </p:cNvPr>
          <p:cNvSpPr txBox="1">
            <a:spLocks/>
          </p:cNvSpPr>
          <p:nvPr/>
        </p:nvSpPr>
        <p:spPr>
          <a:xfrm>
            <a:off x="6550019" y="3498283"/>
            <a:ext cx="191610" cy="1938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40" normalizeH="0" baseline="0" noProof="0" dirty="0">
                <a:ln>
                  <a:noFill/>
                </a:ln>
                <a:solidFill>
                  <a:prstClr val="white"/>
                </a:solidFill>
                <a:effectLst/>
                <a:uLnTx/>
                <a:uFillTx/>
                <a:latin typeface="Montserrat" panose="00000500000000000000" pitchFamily="2" charset="0"/>
                <a:ea typeface="+mj-ea"/>
                <a:cs typeface="Calibri" panose="020F0502020204030204" pitchFamily="34" charset="0"/>
              </a:rPr>
              <a:t>e</a:t>
            </a:r>
          </a:p>
        </p:txBody>
      </p:sp>
    </p:spTree>
    <p:extLst>
      <p:ext uri="{BB962C8B-B14F-4D97-AF65-F5344CB8AC3E}">
        <p14:creationId xmlns:p14="http://schemas.microsoft.com/office/powerpoint/2010/main" val="3132927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716"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sym typeface="Montserrat" panose="00000500000000000000" pitchFamily="2" charset="0"/>
            </a:endParaRPr>
          </a:p>
        </p:txBody>
      </p:sp>
      <p:sp>
        <p:nvSpPr>
          <p:cNvPr id="13" name="Titre 5">
            <a:extLst>
              <a:ext uri="{FF2B5EF4-FFF2-40B4-BE49-F238E27FC236}">
                <a16:creationId xmlns:a16="http://schemas.microsoft.com/office/drawing/2014/main" id="{DFDC3B07-2FBC-4336-BF45-7AAFB423E9E9}"/>
              </a:ext>
            </a:extLst>
          </p:cNvPr>
          <p:cNvSpPr txBox="1">
            <a:spLocks/>
          </p:cNvSpPr>
          <p:nvPr/>
        </p:nvSpPr>
        <p:spPr>
          <a:xfrm>
            <a:off x="691833" y="422388"/>
            <a:ext cx="11320818" cy="532504"/>
          </a:xfrm>
          <a:prstGeom prst="rect">
            <a:avLst/>
          </a:prstGeom>
        </p:spPr>
        <p:txBody>
          <a:bodyPr vert="horz" lIns="0" tIns="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1" i="0" u="none" strike="noStrike" kern="1200" cap="none" spc="0" normalizeH="0" baseline="0" noProof="0" dirty="0">
                <a:ln>
                  <a:noFill/>
                </a:ln>
                <a:solidFill>
                  <a:srgbClr val="33008E"/>
                </a:solidFill>
                <a:effectLst/>
                <a:uLnTx/>
                <a:uFillTx/>
                <a:latin typeface="Montserrat"/>
                <a:ea typeface="+mj-ea"/>
                <a:cs typeface="+mj-cs"/>
              </a:rPr>
              <a:t>Econocom : a unique business model </a:t>
            </a:r>
          </a:p>
        </p:txBody>
      </p:sp>
      <p:sp>
        <p:nvSpPr>
          <p:cNvPr id="15" name="Rectangle 14">
            <a:extLst>
              <a:ext uri="{FF2B5EF4-FFF2-40B4-BE49-F238E27FC236}">
                <a16:creationId xmlns:a16="http://schemas.microsoft.com/office/drawing/2014/main" id="{6A2237F9-DC3F-4E5C-AD34-FB22A89F4276}"/>
              </a:ext>
            </a:extLst>
          </p:cNvPr>
          <p:cNvSpPr/>
          <p:nvPr/>
        </p:nvSpPr>
        <p:spPr>
          <a:xfrm>
            <a:off x="0" y="1158240"/>
            <a:ext cx="12192000" cy="5699760"/>
          </a:xfrm>
          <a:prstGeom prst="rect">
            <a:avLst/>
          </a:prstGeom>
          <a:solidFill>
            <a:srgbClr val="3E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Montserrat SemiBold"/>
              <a:ea typeface="+mn-ea"/>
              <a:cs typeface="+mn-cs"/>
            </a:endParaRPr>
          </a:p>
        </p:txBody>
      </p:sp>
      <p:pic>
        <p:nvPicPr>
          <p:cNvPr id="16" name="Picture 2">
            <a:extLst>
              <a:ext uri="{FF2B5EF4-FFF2-40B4-BE49-F238E27FC236}">
                <a16:creationId xmlns:a16="http://schemas.microsoft.com/office/drawing/2014/main" id="{7D21D374-12CB-4304-943B-01411F1E8ED8}"/>
              </a:ext>
            </a:extLst>
          </p:cNvPr>
          <p:cNvPicPr>
            <a:picLocks noChangeAspect="1"/>
          </p:cNvPicPr>
          <p:nvPr/>
        </p:nvPicPr>
        <p:blipFill rotWithShape="1">
          <a:blip r:embed="rId8">
            <a:extLst>
              <a:ext uri="{28A0092B-C50C-407E-A947-70E740481C1C}">
                <a14:useLocalDpi xmlns:a14="http://schemas.microsoft.com/office/drawing/2010/main" val="0"/>
              </a:ext>
            </a:extLst>
          </a:blip>
          <a:srcRect l="32740" t="41416" r="50431" b="37671"/>
          <a:stretch/>
        </p:blipFill>
        <p:spPr>
          <a:xfrm>
            <a:off x="563907" y="1807253"/>
            <a:ext cx="4703437" cy="4132915"/>
          </a:xfrm>
          <a:prstGeom prst="rect">
            <a:avLst/>
          </a:prstGeom>
        </p:spPr>
      </p:pic>
      <p:sp>
        <p:nvSpPr>
          <p:cNvPr id="8" name="Rectangle 7">
            <a:extLst>
              <a:ext uri="{FF2B5EF4-FFF2-40B4-BE49-F238E27FC236}">
                <a16:creationId xmlns:a16="http://schemas.microsoft.com/office/drawing/2014/main" id="{78FF9A57-1AA6-4CC7-AC01-541633016BBD}"/>
              </a:ext>
            </a:extLst>
          </p:cNvPr>
          <p:cNvSpPr/>
          <p:nvPr/>
        </p:nvSpPr>
        <p:spPr>
          <a:xfrm>
            <a:off x="5751243" y="1534410"/>
            <a:ext cx="5119957" cy="1754326"/>
          </a:xfrm>
          <a:prstGeom prst="rect">
            <a:avLst/>
          </a:prstGeom>
        </p:spPr>
        <p:txBody>
          <a:bodyPr wrap="square">
            <a:spAutoFit/>
          </a:bodyPr>
          <a:lstStyle/>
          <a:p>
            <a:r>
              <a:rPr lang="en-US" kern="0" dirty="0">
                <a:solidFill>
                  <a:schemeClr val="accent6"/>
                </a:solidFill>
                <a:latin typeface="Montserrat ExtraBold" panose="00000900000000000000" pitchFamily="50" charset="0"/>
              </a:rPr>
              <a:t>Independence from</a:t>
            </a:r>
          </a:p>
          <a:p>
            <a:r>
              <a:rPr lang="en-GB" dirty="0">
                <a:solidFill>
                  <a:schemeClr val="bg1"/>
                </a:solidFill>
                <a:latin typeface="Montserrat"/>
              </a:rPr>
              <a:t>Hardware manufacturers</a:t>
            </a:r>
          </a:p>
          <a:p>
            <a:r>
              <a:rPr lang="en-GB" dirty="0">
                <a:solidFill>
                  <a:schemeClr val="bg1"/>
                </a:solidFill>
                <a:latin typeface="Montserrat"/>
              </a:rPr>
              <a:t>Telecom carriers</a:t>
            </a:r>
          </a:p>
          <a:p>
            <a:r>
              <a:rPr lang="en-GB" dirty="0">
                <a:solidFill>
                  <a:schemeClr val="bg1"/>
                </a:solidFill>
                <a:latin typeface="Montserrat"/>
              </a:rPr>
              <a:t>Software vendors </a:t>
            </a:r>
          </a:p>
          <a:p>
            <a:r>
              <a:rPr lang="en-GB" dirty="0">
                <a:solidFill>
                  <a:schemeClr val="bg1"/>
                </a:solidFill>
                <a:latin typeface="Montserrat"/>
              </a:rPr>
              <a:t>Banks</a:t>
            </a:r>
          </a:p>
          <a:p>
            <a:endParaRPr lang="en-US" dirty="0">
              <a:solidFill>
                <a:schemeClr val="bg1"/>
              </a:solidFill>
              <a:latin typeface="Montserrat"/>
            </a:endParaRPr>
          </a:p>
        </p:txBody>
      </p:sp>
      <p:sp>
        <p:nvSpPr>
          <p:cNvPr id="9" name="Rectangle 8">
            <a:extLst>
              <a:ext uri="{FF2B5EF4-FFF2-40B4-BE49-F238E27FC236}">
                <a16:creationId xmlns:a16="http://schemas.microsoft.com/office/drawing/2014/main" id="{98434500-BF39-4FE0-B115-9279B28F9378}"/>
              </a:ext>
            </a:extLst>
          </p:cNvPr>
          <p:cNvSpPr/>
          <p:nvPr/>
        </p:nvSpPr>
        <p:spPr>
          <a:xfrm>
            <a:off x="5791247" y="3269456"/>
            <a:ext cx="6045154" cy="1477328"/>
          </a:xfrm>
          <a:prstGeom prst="rect">
            <a:avLst/>
          </a:prstGeom>
        </p:spPr>
        <p:txBody>
          <a:bodyPr wrap="square">
            <a:spAutoFit/>
          </a:bodyPr>
          <a:lstStyle/>
          <a:p>
            <a:r>
              <a:rPr lang="en-US" kern="0" dirty="0">
                <a:solidFill>
                  <a:schemeClr val="accent6"/>
                </a:solidFill>
                <a:latin typeface="Montserrat ExtraBold" panose="00000900000000000000" pitchFamily="50" charset="0"/>
              </a:rPr>
              <a:t>Financing for a wide range of assets  </a:t>
            </a:r>
          </a:p>
          <a:p>
            <a:r>
              <a:rPr lang="en-US" dirty="0">
                <a:solidFill>
                  <a:schemeClr val="bg1"/>
                </a:solidFill>
                <a:latin typeface="Montserrat"/>
              </a:rPr>
              <a:t>Technological hardware</a:t>
            </a:r>
          </a:p>
          <a:p>
            <a:r>
              <a:rPr lang="en-US" dirty="0">
                <a:solidFill>
                  <a:schemeClr val="bg1"/>
                </a:solidFill>
                <a:latin typeface="Montserrat"/>
              </a:rPr>
              <a:t>Exotic assets</a:t>
            </a:r>
          </a:p>
          <a:p>
            <a:r>
              <a:rPr lang="en-US" dirty="0">
                <a:solidFill>
                  <a:schemeClr val="bg1"/>
                </a:solidFill>
                <a:latin typeface="Montserrat"/>
              </a:rPr>
              <a:t>Software</a:t>
            </a:r>
          </a:p>
          <a:p>
            <a:r>
              <a:rPr lang="en-US" dirty="0">
                <a:solidFill>
                  <a:schemeClr val="bg1"/>
                </a:solidFill>
                <a:latin typeface="Montserrat"/>
              </a:rPr>
              <a:t>Delivered services</a:t>
            </a:r>
          </a:p>
        </p:txBody>
      </p:sp>
      <p:sp>
        <p:nvSpPr>
          <p:cNvPr id="10" name="Rectangle 9">
            <a:extLst>
              <a:ext uri="{FF2B5EF4-FFF2-40B4-BE49-F238E27FC236}">
                <a16:creationId xmlns:a16="http://schemas.microsoft.com/office/drawing/2014/main" id="{2D507BDC-8E54-499B-A008-D739683B321A}"/>
              </a:ext>
            </a:extLst>
          </p:cNvPr>
          <p:cNvSpPr/>
          <p:nvPr/>
        </p:nvSpPr>
        <p:spPr>
          <a:xfrm>
            <a:off x="5791247" y="5003860"/>
            <a:ext cx="5876850" cy="1477328"/>
          </a:xfrm>
          <a:prstGeom prst="rect">
            <a:avLst/>
          </a:prstGeom>
        </p:spPr>
        <p:txBody>
          <a:bodyPr wrap="square">
            <a:spAutoFit/>
          </a:bodyPr>
          <a:lstStyle/>
          <a:p>
            <a:r>
              <a:rPr lang="en-US" kern="0" dirty="0">
                <a:solidFill>
                  <a:schemeClr val="accent6"/>
                </a:solidFill>
                <a:latin typeface="Montserrat ExtraBold" panose="00000900000000000000" pitchFamily="50" charset="0"/>
              </a:rPr>
              <a:t>Flexible models</a:t>
            </a:r>
            <a:endParaRPr lang="en-GB" dirty="0">
              <a:solidFill>
                <a:schemeClr val="accent6"/>
              </a:solidFill>
              <a:latin typeface="Montserrat"/>
            </a:endParaRPr>
          </a:p>
          <a:p>
            <a:r>
              <a:rPr lang="en-GB" dirty="0">
                <a:solidFill>
                  <a:schemeClr val="bg1"/>
                </a:solidFill>
                <a:latin typeface="Montserrat"/>
              </a:rPr>
              <a:t>As-a-service </a:t>
            </a:r>
          </a:p>
          <a:p>
            <a:r>
              <a:rPr lang="en-GB" dirty="0">
                <a:solidFill>
                  <a:schemeClr val="bg1"/>
                </a:solidFill>
                <a:latin typeface="Montserrat"/>
              </a:rPr>
              <a:t>Leasing </a:t>
            </a:r>
          </a:p>
          <a:p>
            <a:r>
              <a:rPr lang="en-GB" dirty="0">
                <a:solidFill>
                  <a:schemeClr val="bg1"/>
                </a:solidFill>
                <a:latin typeface="Montserrat"/>
              </a:rPr>
              <a:t>Structured finance </a:t>
            </a:r>
          </a:p>
          <a:p>
            <a:r>
              <a:rPr lang="en-GB" dirty="0">
                <a:solidFill>
                  <a:schemeClr val="bg1"/>
                </a:solidFill>
                <a:latin typeface="Montserrat"/>
              </a:rPr>
              <a:t>Cross-country financing  </a:t>
            </a:r>
            <a:endParaRPr lang="en-US" dirty="0">
              <a:solidFill>
                <a:schemeClr val="bg1"/>
              </a:solidFill>
              <a:latin typeface="Montserrat"/>
            </a:endParaRPr>
          </a:p>
        </p:txBody>
      </p:sp>
      <p:cxnSp>
        <p:nvCxnSpPr>
          <p:cNvPr id="11" name="Connecteur droit 13">
            <a:extLst>
              <a:ext uri="{FF2B5EF4-FFF2-40B4-BE49-F238E27FC236}">
                <a16:creationId xmlns:a16="http://schemas.microsoft.com/office/drawing/2014/main" id="{DA657F35-5B25-4B7C-85CC-D82A168ABFA0}"/>
              </a:ext>
            </a:extLst>
          </p:cNvPr>
          <p:cNvCxnSpPr>
            <a:cxnSpLocks/>
          </p:cNvCxnSpPr>
          <p:nvPr/>
        </p:nvCxnSpPr>
        <p:spPr>
          <a:xfrm>
            <a:off x="5670233" y="1595370"/>
            <a:ext cx="0" cy="483591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2040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64"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sym typeface="Montserrat" panose="00000500000000000000" pitchFamily="2" charset="0"/>
            </a:endParaRPr>
          </a:p>
        </p:txBody>
      </p:sp>
      <p:sp>
        <p:nvSpPr>
          <p:cNvPr id="8" name="Titre 5">
            <a:extLst>
              <a:ext uri="{FF2B5EF4-FFF2-40B4-BE49-F238E27FC236}">
                <a16:creationId xmlns:a16="http://schemas.microsoft.com/office/drawing/2014/main" id="{8AE33944-45A3-415C-9EBA-293C9717DF33}"/>
              </a:ext>
            </a:extLst>
          </p:cNvPr>
          <p:cNvSpPr txBox="1">
            <a:spLocks/>
          </p:cNvSpPr>
          <p:nvPr/>
        </p:nvSpPr>
        <p:spPr>
          <a:xfrm>
            <a:off x="871182" y="431800"/>
            <a:ext cx="11320818" cy="693074"/>
          </a:xfrm>
          <a:prstGeom prst="rect">
            <a:avLst/>
          </a:prstGeom>
        </p:spPr>
        <p:txBody>
          <a:bodyPr vert="horz" lIns="0" tIns="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lvl="0">
              <a:defRPr/>
            </a:pPr>
            <a:r>
              <a:rPr lang="en-GB" dirty="0"/>
              <a:t>A selection of our clients</a:t>
            </a:r>
          </a:p>
        </p:txBody>
      </p:sp>
      <p:sp>
        <p:nvSpPr>
          <p:cNvPr id="13" name="Espace réservé du numéro de diapositive 4">
            <a:extLst>
              <a:ext uri="{FF2B5EF4-FFF2-40B4-BE49-F238E27FC236}">
                <a16:creationId xmlns:a16="http://schemas.microsoft.com/office/drawing/2014/main" id="{E790D2E0-0F21-4621-8F06-C8A4B08D1CBE}"/>
              </a:ext>
            </a:extLst>
          </p:cNvPr>
          <p:cNvSpPr>
            <a:spLocks noGrp="1"/>
          </p:cNvSpPr>
          <p:nvPr>
            <p:ph type="sldNum" sz="quarter" idx="12"/>
          </p:nvPr>
        </p:nvSpPr>
        <p:spPr>
          <a:xfrm>
            <a:off x="11620500" y="6426200"/>
            <a:ext cx="350520" cy="24384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C5DC16-0D22-4C7F-9249-BF4D2D91D79F}" type="slidenum">
              <a:rPr kumimoji="0" lang="en-US" sz="1050" b="0" i="0" u="none" strike="noStrike" kern="1200" cap="none" spc="0" normalizeH="0" baseline="0" noProof="0" smtClean="0">
                <a:ln>
                  <a:noFill/>
                </a:ln>
                <a:solidFill>
                  <a:prstClr val="white">
                    <a:lumMod val="50000"/>
                  </a:prstClr>
                </a:solidFill>
                <a:effectLst/>
                <a:uLnTx/>
                <a:uFillTx/>
                <a:latin typeface="Montserrat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50" b="0" i="0" u="none" strike="noStrike" kern="1200" cap="none" spc="0" normalizeH="0" baseline="0" noProof="0" dirty="0">
              <a:ln>
                <a:noFill/>
              </a:ln>
              <a:solidFill>
                <a:prstClr val="white">
                  <a:lumMod val="50000"/>
                </a:prstClr>
              </a:solidFill>
              <a:effectLst/>
              <a:uLnTx/>
              <a:uFillTx/>
              <a:latin typeface="Montserrat SemiBold"/>
              <a:ea typeface="+mn-ea"/>
              <a:cs typeface="+mn-cs"/>
            </a:endParaRPr>
          </a:p>
        </p:txBody>
      </p:sp>
      <p:sp>
        <p:nvSpPr>
          <p:cNvPr id="17" name="Rectangle 16">
            <a:extLst>
              <a:ext uri="{FF2B5EF4-FFF2-40B4-BE49-F238E27FC236}">
                <a16:creationId xmlns:a16="http://schemas.microsoft.com/office/drawing/2014/main" id="{AC7650D2-3549-419A-9E04-32F6C139540E}"/>
              </a:ext>
            </a:extLst>
          </p:cNvPr>
          <p:cNvSpPr/>
          <p:nvPr/>
        </p:nvSpPr>
        <p:spPr>
          <a:xfrm>
            <a:off x="9144001" y="3885987"/>
            <a:ext cx="1132890" cy="7643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2346" name="Picture 10" descr="Image result for kering logo">
            <a:extLst>
              <a:ext uri="{FF2B5EF4-FFF2-40B4-BE49-F238E27FC236}">
                <a16:creationId xmlns:a16="http://schemas.microsoft.com/office/drawing/2014/main" id="{F9199240-1877-4917-8C7F-7E9666914BF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14719" y="6015445"/>
            <a:ext cx="1202654" cy="532675"/>
          </a:xfrm>
          <a:prstGeom prst="rect">
            <a:avLst/>
          </a:prstGeom>
          <a:noFill/>
          <a:extLst>
            <a:ext uri="{909E8E84-426E-40DD-AFC4-6F175D3DCCD1}">
              <a14:hiddenFill xmlns:a14="http://schemas.microsoft.com/office/drawing/2010/main">
                <a:solidFill>
                  <a:srgbClr val="FFFFFF"/>
                </a:solidFill>
              </a14:hiddenFill>
            </a:ext>
          </a:extLst>
        </p:spPr>
      </p:pic>
      <p:pic>
        <p:nvPicPr>
          <p:cNvPr id="142348" name="Picture 12" descr="Image result for the bbc logo">
            <a:extLst>
              <a:ext uri="{FF2B5EF4-FFF2-40B4-BE49-F238E27FC236}">
                <a16:creationId xmlns:a16="http://schemas.microsoft.com/office/drawing/2014/main" id="{4E932D96-28C6-4460-B745-9C8F818EFAA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94529" y="5357607"/>
            <a:ext cx="891749" cy="307700"/>
          </a:xfrm>
          <a:prstGeom prst="rect">
            <a:avLst/>
          </a:prstGeom>
          <a:noFill/>
          <a:extLst>
            <a:ext uri="{909E8E84-426E-40DD-AFC4-6F175D3DCCD1}">
              <a14:hiddenFill xmlns:a14="http://schemas.microsoft.com/office/drawing/2010/main">
                <a:solidFill>
                  <a:srgbClr val="FFFFFF"/>
                </a:solidFill>
              </a14:hiddenFill>
            </a:ext>
          </a:extLst>
        </p:spPr>
      </p:pic>
      <p:pic>
        <p:nvPicPr>
          <p:cNvPr id="142350" name="Picture 14" descr="Image result for fiat chrysler logo">
            <a:extLst>
              <a:ext uri="{FF2B5EF4-FFF2-40B4-BE49-F238E27FC236}">
                <a16:creationId xmlns:a16="http://schemas.microsoft.com/office/drawing/2014/main" id="{087454CF-D7FE-4142-B4E0-A9E96395A0F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68115" y="3359160"/>
            <a:ext cx="983708" cy="375295"/>
          </a:xfrm>
          <a:prstGeom prst="rect">
            <a:avLst/>
          </a:prstGeom>
          <a:noFill/>
          <a:extLst>
            <a:ext uri="{909E8E84-426E-40DD-AFC4-6F175D3DCCD1}">
              <a14:hiddenFill xmlns:a14="http://schemas.microsoft.com/office/drawing/2010/main">
                <a:solidFill>
                  <a:srgbClr val="FFFFFF"/>
                </a:solidFill>
              </a14:hiddenFill>
            </a:ext>
          </a:extLst>
        </p:spPr>
      </p:pic>
      <p:pic>
        <p:nvPicPr>
          <p:cNvPr id="142352" name="Picture 16" descr="Image result for 3M logo">
            <a:extLst>
              <a:ext uri="{FF2B5EF4-FFF2-40B4-BE49-F238E27FC236}">
                <a16:creationId xmlns:a16="http://schemas.microsoft.com/office/drawing/2014/main" id="{439913CD-7033-45F9-B1A5-49474A1E8D1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82490" y="5769732"/>
            <a:ext cx="664593" cy="350019"/>
          </a:xfrm>
          <a:prstGeom prst="rect">
            <a:avLst/>
          </a:prstGeom>
          <a:noFill/>
          <a:extLst>
            <a:ext uri="{909E8E84-426E-40DD-AFC4-6F175D3DCCD1}">
              <a14:hiddenFill xmlns:a14="http://schemas.microsoft.com/office/drawing/2010/main">
                <a:solidFill>
                  <a:srgbClr val="FFFFFF"/>
                </a:solidFill>
              </a14:hiddenFill>
            </a:ext>
          </a:extLst>
        </p:spPr>
      </p:pic>
      <p:pic>
        <p:nvPicPr>
          <p:cNvPr id="142356" name="Picture 20" descr="Image result for RAC logo">
            <a:extLst>
              <a:ext uri="{FF2B5EF4-FFF2-40B4-BE49-F238E27FC236}">
                <a16:creationId xmlns:a16="http://schemas.microsoft.com/office/drawing/2014/main" id="{45026E4D-5012-4576-9936-BA04BA50A79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36126" y="5689999"/>
            <a:ext cx="951075" cy="32544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FFE87CBD-2B0A-487D-A3C9-C4ADBEFB3238}"/>
              </a:ext>
            </a:extLst>
          </p:cNvPr>
          <p:cNvPicPr>
            <a:picLocks noChangeAspect="1"/>
          </p:cNvPicPr>
          <p:nvPr/>
        </p:nvPicPr>
        <p:blipFill>
          <a:blip r:embed="rId13"/>
          <a:stretch>
            <a:fillRect/>
          </a:stretch>
        </p:blipFill>
        <p:spPr>
          <a:xfrm>
            <a:off x="5407584" y="4282588"/>
            <a:ext cx="473778" cy="473778"/>
          </a:xfrm>
          <a:prstGeom prst="rect">
            <a:avLst/>
          </a:prstGeom>
        </p:spPr>
      </p:pic>
      <p:pic>
        <p:nvPicPr>
          <p:cNvPr id="142358" name="Picture 22" descr="Image result for atos logo">
            <a:extLst>
              <a:ext uri="{FF2B5EF4-FFF2-40B4-BE49-F238E27FC236}">
                <a16:creationId xmlns:a16="http://schemas.microsoft.com/office/drawing/2014/main" id="{7FE31A32-C027-4BDF-ADE1-D9F5C2AA0E9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56687" y="5108964"/>
            <a:ext cx="1028990" cy="358432"/>
          </a:xfrm>
          <a:prstGeom prst="rect">
            <a:avLst/>
          </a:prstGeom>
          <a:noFill/>
          <a:extLst>
            <a:ext uri="{909E8E84-426E-40DD-AFC4-6F175D3DCCD1}">
              <a14:hiddenFill xmlns:a14="http://schemas.microsoft.com/office/drawing/2010/main">
                <a:solidFill>
                  <a:srgbClr val="FFFFFF"/>
                </a:solidFill>
              </a14:hiddenFill>
            </a:ext>
          </a:extLst>
        </p:spPr>
      </p:pic>
      <p:pic>
        <p:nvPicPr>
          <p:cNvPr id="147458" name="Picture 2" descr="File:Aviva Logo.svg - Wikimedia Commons">
            <a:extLst>
              <a:ext uri="{FF2B5EF4-FFF2-40B4-BE49-F238E27FC236}">
                <a16:creationId xmlns:a16="http://schemas.microsoft.com/office/drawing/2014/main" id="{9EFA1523-45F6-487F-B385-7E255C669F1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986813" y="4340289"/>
            <a:ext cx="950631" cy="683316"/>
          </a:xfrm>
          <a:prstGeom prst="rect">
            <a:avLst/>
          </a:prstGeom>
          <a:noFill/>
          <a:extLst>
            <a:ext uri="{909E8E84-426E-40DD-AFC4-6F175D3DCCD1}">
              <a14:hiddenFill xmlns:a14="http://schemas.microsoft.com/office/drawing/2010/main">
                <a:solidFill>
                  <a:srgbClr val="FFFFFF"/>
                </a:solidFill>
              </a14:hiddenFill>
            </a:ext>
          </a:extLst>
        </p:spPr>
      </p:pic>
      <p:pic>
        <p:nvPicPr>
          <p:cNvPr id="147460" name="Picture 4" descr="Datei:ABB-Logo.svg – Wikipedia">
            <a:extLst>
              <a:ext uri="{FF2B5EF4-FFF2-40B4-BE49-F238E27FC236}">
                <a16:creationId xmlns:a16="http://schemas.microsoft.com/office/drawing/2014/main" id="{BF7CC381-5EF1-42F6-9072-49588BD70D0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438454" y="2478095"/>
            <a:ext cx="875700" cy="353199"/>
          </a:xfrm>
          <a:prstGeom prst="rect">
            <a:avLst/>
          </a:prstGeom>
          <a:noFill/>
          <a:extLst>
            <a:ext uri="{909E8E84-426E-40DD-AFC4-6F175D3DCCD1}">
              <a14:hiddenFill xmlns:a14="http://schemas.microsoft.com/office/drawing/2010/main">
                <a:solidFill>
                  <a:srgbClr val="FFFFFF"/>
                </a:solidFill>
              </a14:hiddenFill>
            </a:ext>
          </a:extLst>
        </p:spPr>
      </p:pic>
      <p:pic>
        <p:nvPicPr>
          <p:cNvPr id="147462" name="Picture 6" descr="Airbus logo 3D_Blue - Logok">
            <a:extLst>
              <a:ext uri="{FF2B5EF4-FFF2-40B4-BE49-F238E27FC236}">
                <a16:creationId xmlns:a16="http://schemas.microsoft.com/office/drawing/2014/main" id="{8AE6D79E-15F8-4E59-9D9A-F0D746D7A9D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32970" y="2048721"/>
            <a:ext cx="1322963" cy="992222"/>
          </a:xfrm>
          <a:prstGeom prst="rect">
            <a:avLst/>
          </a:prstGeom>
          <a:noFill/>
          <a:extLst>
            <a:ext uri="{909E8E84-426E-40DD-AFC4-6F175D3DCCD1}">
              <a14:hiddenFill xmlns:a14="http://schemas.microsoft.com/office/drawing/2010/main">
                <a:solidFill>
                  <a:srgbClr val="FFFFFF"/>
                </a:solidFill>
              </a14:hiddenFill>
            </a:ext>
          </a:extLst>
        </p:spPr>
      </p:pic>
      <p:pic>
        <p:nvPicPr>
          <p:cNvPr id="147465" name="Picture 9" descr="Aon Belgium on Twitter: &quot;BMW Belux – Training Center in Bornem ...">
            <a:extLst>
              <a:ext uri="{FF2B5EF4-FFF2-40B4-BE49-F238E27FC236}">
                <a16:creationId xmlns:a16="http://schemas.microsoft.com/office/drawing/2014/main" id="{B2B0BA3E-B40C-40E3-943F-3081CBDD0A0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42373" y="3817439"/>
            <a:ext cx="739119" cy="739119"/>
          </a:xfrm>
          <a:prstGeom prst="rect">
            <a:avLst/>
          </a:prstGeom>
          <a:noFill/>
          <a:extLst>
            <a:ext uri="{909E8E84-426E-40DD-AFC4-6F175D3DCCD1}">
              <a14:hiddenFill xmlns:a14="http://schemas.microsoft.com/office/drawing/2010/main">
                <a:solidFill>
                  <a:srgbClr val="FFFFFF"/>
                </a:solidFill>
              </a14:hiddenFill>
            </a:ext>
          </a:extLst>
        </p:spPr>
      </p:pic>
      <p:pic>
        <p:nvPicPr>
          <p:cNvPr id="147468" name="Picture 12" descr="Pernod Ricard – Wikipedia">
            <a:extLst>
              <a:ext uri="{FF2B5EF4-FFF2-40B4-BE49-F238E27FC236}">
                <a16:creationId xmlns:a16="http://schemas.microsoft.com/office/drawing/2014/main" id="{509C7841-6509-47D2-87AD-8157DEB6941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899443" y="3045059"/>
            <a:ext cx="1165357" cy="4292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00D4CE58-2C98-4414-B855-7F7F0ECC4382}"/>
              </a:ext>
            </a:extLst>
          </p:cNvPr>
          <p:cNvPicPr>
            <a:picLocks noChangeAspect="1"/>
          </p:cNvPicPr>
          <p:nvPr/>
        </p:nvPicPr>
        <p:blipFill rotWithShape="1">
          <a:blip r:embed="rId20"/>
          <a:srcRect l="12910" t="6532" r="15589" b="-1"/>
          <a:stretch/>
        </p:blipFill>
        <p:spPr>
          <a:xfrm>
            <a:off x="194368" y="2831293"/>
            <a:ext cx="1302262" cy="756599"/>
          </a:xfrm>
          <a:prstGeom prst="rect">
            <a:avLst/>
          </a:prstGeom>
        </p:spPr>
      </p:pic>
      <p:pic>
        <p:nvPicPr>
          <p:cNvPr id="147470" name="Picture 14" descr="Akzo Nobel Logo · Sanipor">
            <a:extLst>
              <a:ext uri="{FF2B5EF4-FFF2-40B4-BE49-F238E27FC236}">
                <a16:creationId xmlns:a16="http://schemas.microsoft.com/office/drawing/2014/main" id="{BCA854DB-9749-449C-8EB5-046FFF55A61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236126" y="4676499"/>
            <a:ext cx="807954" cy="591787"/>
          </a:xfrm>
          <a:prstGeom prst="rect">
            <a:avLst/>
          </a:prstGeom>
          <a:noFill/>
          <a:extLst>
            <a:ext uri="{909E8E84-426E-40DD-AFC4-6F175D3DCCD1}">
              <a14:hiddenFill xmlns:a14="http://schemas.microsoft.com/office/drawing/2010/main">
                <a:solidFill>
                  <a:srgbClr val="FFFFFF"/>
                </a:solidFill>
              </a14:hiddenFill>
            </a:ext>
          </a:extLst>
        </p:spPr>
      </p:pic>
      <p:pic>
        <p:nvPicPr>
          <p:cNvPr id="147472" name="Picture 16" descr="Heineken-Logo">
            <a:extLst>
              <a:ext uri="{FF2B5EF4-FFF2-40B4-BE49-F238E27FC236}">
                <a16:creationId xmlns:a16="http://schemas.microsoft.com/office/drawing/2014/main" id="{3088F32B-D585-4AEE-BE74-57DCC2BB869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243029" y="3382700"/>
            <a:ext cx="1122276" cy="635917"/>
          </a:xfrm>
          <a:prstGeom prst="rect">
            <a:avLst/>
          </a:prstGeom>
          <a:noFill/>
          <a:extLst>
            <a:ext uri="{909E8E84-426E-40DD-AFC4-6F175D3DCCD1}">
              <a14:hiddenFill xmlns:a14="http://schemas.microsoft.com/office/drawing/2010/main">
                <a:solidFill>
                  <a:srgbClr val="FFFFFF"/>
                </a:solidFill>
              </a14:hiddenFill>
            </a:ext>
          </a:extLst>
        </p:spPr>
      </p:pic>
      <p:pic>
        <p:nvPicPr>
          <p:cNvPr id="147474" name="Picture 18" descr="Datei:Sodexo logo.svg – Wikipedia">
            <a:extLst>
              <a:ext uri="{FF2B5EF4-FFF2-40B4-BE49-F238E27FC236}">
                <a16:creationId xmlns:a16="http://schemas.microsoft.com/office/drawing/2014/main" id="{B96072D1-77A2-4165-A013-5DDD107DF3B6}"/>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665912" y="3927598"/>
            <a:ext cx="1329843" cy="446744"/>
          </a:xfrm>
          <a:prstGeom prst="rect">
            <a:avLst/>
          </a:prstGeom>
          <a:noFill/>
          <a:extLst>
            <a:ext uri="{909E8E84-426E-40DD-AFC4-6F175D3DCCD1}">
              <a14:hiddenFill xmlns:a14="http://schemas.microsoft.com/office/drawing/2010/main">
                <a:solidFill>
                  <a:srgbClr val="FFFFFF"/>
                </a:solidFill>
              </a14:hiddenFill>
            </a:ext>
          </a:extLst>
        </p:spPr>
      </p:pic>
      <p:pic>
        <p:nvPicPr>
          <p:cNvPr id="147476" name="Picture 20" descr="Unilever – Wikipedia">
            <a:extLst>
              <a:ext uri="{FF2B5EF4-FFF2-40B4-BE49-F238E27FC236}">
                <a16:creationId xmlns:a16="http://schemas.microsoft.com/office/drawing/2014/main" id="{C1382E9B-E1FC-47DA-900B-9D0B254679CB}"/>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911576" y="2214610"/>
            <a:ext cx="616328" cy="67800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C762984A-69E9-49ED-ABDD-143BB60A5B6B}"/>
              </a:ext>
            </a:extLst>
          </p:cNvPr>
          <p:cNvPicPr>
            <a:picLocks noChangeAspect="1"/>
          </p:cNvPicPr>
          <p:nvPr/>
        </p:nvPicPr>
        <p:blipFill>
          <a:blip r:embed="rId25"/>
          <a:stretch>
            <a:fillRect/>
          </a:stretch>
        </p:blipFill>
        <p:spPr>
          <a:xfrm>
            <a:off x="493851" y="5807101"/>
            <a:ext cx="1226913" cy="690026"/>
          </a:xfrm>
          <a:prstGeom prst="rect">
            <a:avLst/>
          </a:prstGeom>
        </p:spPr>
      </p:pic>
      <p:cxnSp>
        <p:nvCxnSpPr>
          <p:cNvPr id="6" name="Straight Connector 5">
            <a:extLst>
              <a:ext uri="{FF2B5EF4-FFF2-40B4-BE49-F238E27FC236}">
                <a16:creationId xmlns:a16="http://schemas.microsoft.com/office/drawing/2014/main" id="{14D1E07D-10B4-411F-93FE-FAD729EA577F}"/>
              </a:ext>
            </a:extLst>
          </p:cNvPr>
          <p:cNvCxnSpPr/>
          <p:nvPr/>
        </p:nvCxnSpPr>
        <p:spPr>
          <a:xfrm>
            <a:off x="6070380" y="1973798"/>
            <a:ext cx="0" cy="44165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05239E13-F5E2-4FA7-9579-390C2BC6BBA3}"/>
              </a:ext>
            </a:extLst>
          </p:cNvPr>
          <p:cNvSpPr/>
          <p:nvPr/>
        </p:nvSpPr>
        <p:spPr>
          <a:xfrm>
            <a:off x="1536783" y="1437949"/>
            <a:ext cx="2609868" cy="48162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solidFill>
                <a:schemeClr val="bg1"/>
              </a:solidFill>
            </a:endParaRPr>
          </a:p>
        </p:txBody>
      </p:sp>
      <p:cxnSp>
        <p:nvCxnSpPr>
          <p:cNvPr id="29" name="Connecteur droit 62">
            <a:extLst>
              <a:ext uri="{FF2B5EF4-FFF2-40B4-BE49-F238E27FC236}">
                <a16:creationId xmlns:a16="http://schemas.microsoft.com/office/drawing/2014/main" id="{D455990A-4C86-42C7-9427-31CDB5AD7AC3}"/>
              </a:ext>
            </a:extLst>
          </p:cNvPr>
          <p:cNvCxnSpPr>
            <a:cxnSpLocks/>
          </p:cNvCxnSpPr>
          <p:nvPr/>
        </p:nvCxnSpPr>
        <p:spPr>
          <a:xfrm rot="5400000">
            <a:off x="2841717" y="1081653"/>
            <a:ext cx="0" cy="736139"/>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95075F8B-0DA7-4FF3-869E-AC798B5AD610}"/>
              </a:ext>
            </a:extLst>
          </p:cNvPr>
          <p:cNvSpPr/>
          <p:nvPr/>
        </p:nvSpPr>
        <p:spPr>
          <a:xfrm>
            <a:off x="1534138" y="1558003"/>
            <a:ext cx="2609868" cy="246221"/>
          </a:xfrm>
          <a:prstGeom prst="rect">
            <a:avLst/>
          </a:prstGeom>
        </p:spPr>
        <p:txBody>
          <a:bodyPr wrap="square" lIns="0" tIns="0" rIns="0" bIns="0" anchor="ctr">
            <a:spAutoFit/>
          </a:bodyPr>
          <a:lstStyle/>
          <a:p>
            <a:pPr algn="ctr"/>
            <a:r>
              <a:rPr lang="en-US" sz="1600" dirty="0">
                <a:solidFill>
                  <a:schemeClr val="bg1"/>
                </a:solidFill>
              </a:rPr>
              <a:t>Our international clients</a:t>
            </a:r>
            <a:endParaRPr lang="en-US" sz="1600" baseline="30000" dirty="0">
              <a:solidFill>
                <a:schemeClr val="bg1"/>
              </a:solidFill>
            </a:endParaRPr>
          </a:p>
        </p:txBody>
      </p:sp>
      <p:sp>
        <p:nvSpPr>
          <p:cNvPr id="31" name="Rectangle 30">
            <a:extLst>
              <a:ext uri="{FF2B5EF4-FFF2-40B4-BE49-F238E27FC236}">
                <a16:creationId xmlns:a16="http://schemas.microsoft.com/office/drawing/2014/main" id="{915B6324-58C2-4076-8C58-6618205132B6}"/>
              </a:ext>
            </a:extLst>
          </p:cNvPr>
          <p:cNvSpPr/>
          <p:nvPr/>
        </p:nvSpPr>
        <p:spPr>
          <a:xfrm>
            <a:off x="8047994" y="1441913"/>
            <a:ext cx="2609868" cy="48162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solidFill>
                <a:schemeClr val="bg1"/>
              </a:solidFill>
            </a:endParaRPr>
          </a:p>
        </p:txBody>
      </p:sp>
      <p:cxnSp>
        <p:nvCxnSpPr>
          <p:cNvPr id="32" name="Connecteur droit 62">
            <a:extLst>
              <a:ext uri="{FF2B5EF4-FFF2-40B4-BE49-F238E27FC236}">
                <a16:creationId xmlns:a16="http://schemas.microsoft.com/office/drawing/2014/main" id="{D8D33D43-72CE-4ABA-AF52-B13D7E8C64D0}"/>
              </a:ext>
            </a:extLst>
          </p:cNvPr>
          <p:cNvCxnSpPr>
            <a:cxnSpLocks/>
          </p:cNvCxnSpPr>
          <p:nvPr/>
        </p:nvCxnSpPr>
        <p:spPr>
          <a:xfrm rot="5400000">
            <a:off x="9352928" y="1085617"/>
            <a:ext cx="0" cy="736139"/>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5BE3D73D-B572-42EF-B2A2-A0469B787777}"/>
              </a:ext>
            </a:extLst>
          </p:cNvPr>
          <p:cNvSpPr/>
          <p:nvPr/>
        </p:nvSpPr>
        <p:spPr>
          <a:xfrm>
            <a:off x="8045349" y="1561967"/>
            <a:ext cx="2609868" cy="246221"/>
          </a:xfrm>
          <a:prstGeom prst="rect">
            <a:avLst/>
          </a:prstGeom>
        </p:spPr>
        <p:txBody>
          <a:bodyPr wrap="square" lIns="0" tIns="0" rIns="0" bIns="0" anchor="ctr">
            <a:spAutoFit/>
          </a:bodyPr>
          <a:lstStyle/>
          <a:p>
            <a:pPr algn="ctr"/>
            <a:r>
              <a:rPr lang="en-US" sz="1600" dirty="0">
                <a:solidFill>
                  <a:schemeClr val="bg1"/>
                </a:solidFill>
              </a:rPr>
              <a:t>Our SME clients</a:t>
            </a:r>
            <a:endParaRPr lang="en-US" sz="1600" baseline="30000" dirty="0">
              <a:solidFill>
                <a:schemeClr val="bg1"/>
              </a:solidFill>
            </a:endParaRPr>
          </a:p>
        </p:txBody>
      </p:sp>
      <p:pic>
        <p:nvPicPr>
          <p:cNvPr id="10" name="Picture 9">
            <a:extLst>
              <a:ext uri="{FF2B5EF4-FFF2-40B4-BE49-F238E27FC236}">
                <a16:creationId xmlns:a16="http://schemas.microsoft.com/office/drawing/2014/main" id="{7FAB481A-DBE2-4F7C-B60A-593D4A95B105}"/>
              </a:ext>
            </a:extLst>
          </p:cNvPr>
          <p:cNvPicPr>
            <a:picLocks noChangeAspect="1"/>
          </p:cNvPicPr>
          <p:nvPr/>
        </p:nvPicPr>
        <p:blipFill>
          <a:blip r:embed="rId26"/>
          <a:stretch>
            <a:fillRect/>
          </a:stretch>
        </p:blipFill>
        <p:spPr>
          <a:xfrm>
            <a:off x="8095745" y="3652699"/>
            <a:ext cx="2261811" cy="1507874"/>
          </a:xfrm>
          <a:prstGeom prst="rect">
            <a:avLst/>
          </a:prstGeom>
        </p:spPr>
      </p:pic>
      <p:pic>
        <p:nvPicPr>
          <p:cNvPr id="153608" name="Picture 8" descr="Sheffield College - Home">
            <a:extLst>
              <a:ext uri="{FF2B5EF4-FFF2-40B4-BE49-F238E27FC236}">
                <a16:creationId xmlns:a16="http://schemas.microsoft.com/office/drawing/2014/main" id="{617C8DC0-18DC-4923-8EBA-C12E0E8809E8}"/>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0620533" y="4696860"/>
            <a:ext cx="1012051" cy="79898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BFC61B8B-BF75-4EDD-9E31-68D17FE5AE3B}"/>
              </a:ext>
            </a:extLst>
          </p:cNvPr>
          <p:cNvPicPr>
            <a:picLocks noChangeAspect="1"/>
          </p:cNvPicPr>
          <p:nvPr/>
        </p:nvPicPr>
        <p:blipFill>
          <a:blip r:embed="rId28"/>
          <a:stretch>
            <a:fillRect/>
          </a:stretch>
        </p:blipFill>
        <p:spPr>
          <a:xfrm>
            <a:off x="9654737" y="5725785"/>
            <a:ext cx="602274" cy="852657"/>
          </a:xfrm>
          <a:prstGeom prst="rect">
            <a:avLst/>
          </a:prstGeom>
        </p:spPr>
      </p:pic>
      <p:pic>
        <p:nvPicPr>
          <p:cNvPr id="153610" name="Picture 10" descr="CNH Industrial – Wikipedia">
            <a:extLst>
              <a:ext uri="{FF2B5EF4-FFF2-40B4-BE49-F238E27FC236}">
                <a16:creationId xmlns:a16="http://schemas.microsoft.com/office/drawing/2014/main" id="{F8F43D22-E72B-4174-BB87-D7810F47372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531591" y="4406636"/>
            <a:ext cx="976845" cy="56575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3BA8C811-406B-4B35-95BA-2C4084B96B96}"/>
              </a:ext>
            </a:extLst>
          </p:cNvPr>
          <p:cNvPicPr>
            <a:picLocks noChangeAspect="1"/>
          </p:cNvPicPr>
          <p:nvPr/>
        </p:nvPicPr>
        <p:blipFill>
          <a:blip r:embed="rId30"/>
          <a:stretch>
            <a:fillRect/>
          </a:stretch>
        </p:blipFill>
        <p:spPr>
          <a:xfrm>
            <a:off x="10931727" y="3625641"/>
            <a:ext cx="885815" cy="885815"/>
          </a:xfrm>
          <a:prstGeom prst="rect">
            <a:avLst/>
          </a:prstGeom>
        </p:spPr>
      </p:pic>
      <p:pic>
        <p:nvPicPr>
          <p:cNvPr id="18" name="Picture 17">
            <a:extLst>
              <a:ext uri="{FF2B5EF4-FFF2-40B4-BE49-F238E27FC236}">
                <a16:creationId xmlns:a16="http://schemas.microsoft.com/office/drawing/2014/main" id="{50659F59-DA6A-4AEC-BC40-3D8716BA6E90}"/>
              </a:ext>
            </a:extLst>
          </p:cNvPr>
          <p:cNvPicPr>
            <a:picLocks noChangeAspect="1"/>
          </p:cNvPicPr>
          <p:nvPr/>
        </p:nvPicPr>
        <p:blipFill>
          <a:blip r:embed="rId31"/>
          <a:stretch>
            <a:fillRect/>
          </a:stretch>
        </p:blipFill>
        <p:spPr>
          <a:xfrm>
            <a:off x="6455319" y="5519288"/>
            <a:ext cx="779413" cy="779413"/>
          </a:xfrm>
          <a:prstGeom prst="rect">
            <a:avLst/>
          </a:prstGeom>
        </p:spPr>
      </p:pic>
      <p:pic>
        <p:nvPicPr>
          <p:cNvPr id="20" name="Picture 19">
            <a:extLst>
              <a:ext uri="{FF2B5EF4-FFF2-40B4-BE49-F238E27FC236}">
                <a16:creationId xmlns:a16="http://schemas.microsoft.com/office/drawing/2014/main" id="{DF1BECDF-1576-4F31-A6B4-22B7A45813D7}"/>
              </a:ext>
            </a:extLst>
          </p:cNvPr>
          <p:cNvPicPr>
            <a:picLocks noChangeAspect="1"/>
          </p:cNvPicPr>
          <p:nvPr/>
        </p:nvPicPr>
        <p:blipFill>
          <a:blip r:embed="rId32"/>
          <a:stretch>
            <a:fillRect/>
          </a:stretch>
        </p:blipFill>
        <p:spPr>
          <a:xfrm>
            <a:off x="6567318" y="3108123"/>
            <a:ext cx="1334828" cy="667414"/>
          </a:xfrm>
          <a:prstGeom prst="rect">
            <a:avLst/>
          </a:prstGeom>
        </p:spPr>
      </p:pic>
      <p:pic>
        <p:nvPicPr>
          <p:cNvPr id="21" name="Picture 20">
            <a:extLst>
              <a:ext uri="{FF2B5EF4-FFF2-40B4-BE49-F238E27FC236}">
                <a16:creationId xmlns:a16="http://schemas.microsoft.com/office/drawing/2014/main" id="{BCF8EDC1-B049-45D2-99E4-A980B2E737AA}"/>
              </a:ext>
            </a:extLst>
          </p:cNvPr>
          <p:cNvPicPr>
            <a:picLocks noChangeAspect="1"/>
          </p:cNvPicPr>
          <p:nvPr/>
        </p:nvPicPr>
        <p:blipFill rotWithShape="1">
          <a:blip r:embed="rId33"/>
          <a:srcRect t="24692" b="30950"/>
          <a:stretch/>
        </p:blipFill>
        <p:spPr>
          <a:xfrm>
            <a:off x="10060190" y="2249514"/>
            <a:ext cx="1743074" cy="570391"/>
          </a:xfrm>
          <a:prstGeom prst="rect">
            <a:avLst/>
          </a:prstGeom>
        </p:spPr>
      </p:pic>
      <p:pic>
        <p:nvPicPr>
          <p:cNvPr id="22" name="Picture 21">
            <a:extLst>
              <a:ext uri="{FF2B5EF4-FFF2-40B4-BE49-F238E27FC236}">
                <a16:creationId xmlns:a16="http://schemas.microsoft.com/office/drawing/2014/main" id="{280A76F9-3505-4604-9C7D-100AC1BDC004}"/>
              </a:ext>
            </a:extLst>
          </p:cNvPr>
          <p:cNvPicPr>
            <a:picLocks noChangeAspect="1"/>
          </p:cNvPicPr>
          <p:nvPr/>
        </p:nvPicPr>
        <p:blipFill>
          <a:blip r:embed="rId34"/>
          <a:stretch>
            <a:fillRect/>
          </a:stretch>
        </p:blipFill>
        <p:spPr>
          <a:xfrm>
            <a:off x="8642854" y="2176056"/>
            <a:ext cx="711253" cy="711253"/>
          </a:xfrm>
          <a:prstGeom prst="rect">
            <a:avLst/>
          </a:prstGeom>
        </p:spPr>
      </p:pic>
      <p:pic>
        <p:nvPicPr>
          <p:cNvPr id="153613" name="Picture 13" descr="Williams Grand Prix Engineering Limited | Crunchbase">
            <a:extLst>
              <a:ext uri="{FF2B5EF4-FFF2-40B4-BE49-F238E27FC236}">
                <a16:creationId xmlns:a16="http://schemas.microsoft.com/office/drawing/2014/main" id="{C4FE49C2-600D-4B22-8064-FE3AD565A0BE}"/>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7788721" y="5689999"/>
            <a:ext cx="1287240" cy="1287240"/>
          </a:xfrm>
          <a:prstGeom prst="rect">
            <a:avLst/>
          </a:prstGeom>
          <a:noFill/>
          <a:extLst>
            <a:ext uri="{909E8E84-426E-40DD-AFC4-6F175D3DCCD1}">
              <a14:hiddenFill xmlns:a14="http://schemas.microsoft.com/office/drawing/2010/main">
                <a:solidFill>
                  <a:srgbClr val="FFFFFF"/>
                </a:solidFill>
              </a14:hiddenFill>
            </a:ext>
          </a:extLst>
        </p:spPr>
      </p:pic>
      <p:pic>
        <p:nvPicPr>
          <p:cNvPr id="153615" name="Picture 15" descr="Foster Care Associates | Core Assets">
            <a:extLst>
              <a:ext uri="{FF2B5EF4-FFF2-40B4-BE49-F238E27FC236}">
                <a16:creationId xmlns:a16="http://schemas.microsoft.com/office/drawing/2014/main" id="{B7FA05A2-FD1D-4D2D-8661-2B646A7F0821}"/>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8424350" y="3212420"/>
            <a:ext cx="1222555" cy="616302"/>
          </a:xfrm>
          <a:prstGeom prst="rect">
            <a:avLst/>
          </a:prstGeom>
          <a:noFill/>
          <a:extLst>
            <a:ext uri="{909E8E84-426E-40DD-AFC4-6F175D3DCCD1}">
              <a14:hiddenFill xmlns:a14="http://schemas.microsoft.com/office/drawing/2010/main">
                <a:solidFill>
                  <a:srgbClr val="FFFFFF"/>
                </a:solidFill>
              </a14:hiddenFill>
            </a:ext>
          </a:extLst>
        </p:spPr>
      </p:pic>
      <p:pic>
        <p:nvPicPr>
          <p:cNvPr id="153618" name="Picture 18" descr="William Fry - Ireland - Firm Profile | IFLR1000">
            <a:extLst>
              <a:ext uri="{FF2B5EF4-FFF2-40B4-BE49-F238E27FC236}">
                <a16:creationId xmlns:a16="http://schemas.microsoft.com/office/drawing/2014/main" id="{A6186313-C047-4853-9FFF-492B5062E64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0431786" y="6028957"/>
            <a:ext cx="1536782" cy="384395"/>
          </a:xfrm>
          <a:prstGeom prst="rect">
            <a:avLst/>
          </a:prstGeom>
          <a:noFill/>
          <a:extLst>
            <a:ext uri="{909E8E84-426E-40DD-AFC4-6F175D3DCCD1}">
              <a14:hiddenFill xmlns:a14="http://schemas.microsoft.com/office/drawing/2010/main">
                <a:solidFill>
                  <a:srgbClr val="FFFFFF"/>
                </a:solidFill>
              </a14:hiddenFill>
            </a:ext>
          </a:extLst>
        </p:spPr>
      </p:pic>
      <p:pic>
        <p:nvPicPr>
          <p:cNvPr id="153620" name="Picture 20" descr="Wiggin logo | RealWire RealResource">
            <a:extLst>
              <a:ext uri="{FF2B5EF4-FFF2-40B4-BE49-F238E27FC236}">
                <a16:creationId xmlns:a16="http://schemas.microsoft.com/office/drawing/2014/main" id="{EAD36C0B-D255-4A1B-BEC6-F33773AC8F92}"/>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0197175" y="3092202"/>
            <a:ext cx="1385245" cy="428369"/>
          </a:xfrm>
          <a:prstGeom prst="rect">
            <a:avLst/>
          </a:prstGeom>
          <a:noFill/>
          <a:extLst>
            <a:ext uri="{909E8E84-426E-40DD-AFC4-6F175D3DCCD1}">
              <a14:hiddenFill xmlns:a14="http://schemas.microsoft.com/office/drawing/2010/main">
                <a:solidFill>
                  <a:srgbClr val="FFFFFF"/>
                </a:solidFill>
              </a14:hiddenFill>
            </a:ext>
          </a:extLst>
        </p:spPr>
      </p:pic>
      <p:pic>
        <p:nvPicPr>
          <p:cNvPr id="153633" name="Picture 33" descr="Datei:Poundland logo.svg – Wikipedia">
            <a:extLst>
              <a:ext uri="{FF2B5EF4-FFF2-40B4-BE49-F238E27FC236}">
                <a16:creationId xmlns:a16="http://schemas.microsoft.com/office/drawing/2014/main" id="{82EB43B3-2CCA-49AC-BBBE-00F34A1A6173}"/>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6362443" y="2258225"/>
            <a:ext cx="1680622" cy="519312"/>
          </a:xfrm>
          <a:prstGeom prst="rect">
            <a:avLst/>
          </a:prstGeom>
          <a:noFill/>
          <a:extLst>
            <a:ext uri="{909E8E84-426E-40DD-AFC4-6F175D3DCCD1}">
              <a14:hiddenFill xmlns:a14="http://schemas.microsoft.com/office/drawing/2010/main">
                <a:solidFill>
                  <a:srgbClr val="FFFFFF"/>
                </a:solidFill>
              </a14:hiddenFill>
            </a:ext>
          </a:extLst>
        </p:spPr>
      </p:pic>
      <p:pic>
        <p:nvPicPr>
          <p:cNvPr id="153606" name="Picture 6" descr="Zest Homepage - Zest">
            <a:extLst>
              <a:ext uri="{FF2B5EF4-FFF2-40B4-BE49-F238E27FC236}">
                <a16:creationId xmlns:a16="http://schemas.microsoft.com/office/drawing/2014/main" id="{B319298F-EA8D-4AF3-9469-A00789CF6E91}"/>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8152791" y="4976026"/>
            <a:ext cx="1318190" cy="800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58106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rgbClr val="573EEF"/>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ADE1105-893C-44CB-999E-B5377DAC61AF}"/>
              </a:ext>
            </a:extLst>
          </p:cNvPr>
          <p:cNvSpPr/>
          <p:nvPr/>
        </p:nvSpPr>
        <p:spPr>
          <a:xfrm>
            <a:off x="3240874" y="1595732"/>
            <a:ext cx="7407074" cy="2049719"/>
          </a:xfrm>
          <a:prstGeom prst="rect">
            <a:avLst/>
          </a:prstGeom>
          <a:noFill/>
        </p:spPr>
        <p:txBody>
          <a:bodyPr wrap="square" lIns="36000" tIns="36000" rIns="36000" bIns="36000" anchor="t" anchorCtr="0">
            <a:spAutoFit/>
          </a:bodyPr>
          <a:lstStyle/>
          <a:p>
            <a:pPr lvl="0">
              <a:lnSpc>
                <a:spcPct val="80000"/>
              </a:lnSpc>
              <a:spcBef>
                <a:spcPts val="600"/>
              </a:spcBef>
              <a:defRPr/>
            </a:pPr>
            <a:r>
              <a:rPr lang="en-US" sz="8000" b="1" dirty="0">
                <a:solidFill>
                  <a:srgbClr val="FFFFFF"/>
                </a:solidFill>
                <a:latin typeface="+mj-lt"/>
              </a:rPr>
              <a:t>Value proposition</a:t>
            </a:r>
          </a:p>
        </p:txBody>
      </p:sp>
      <p:sp>
        <p:nvSpPr>
          <p:cNvPr id="43" name="Freeform 24">
            <a:extLst>
              <a:ext uri="{FF2B5EF4-FFF2-40B4-BE49-F238E27FC236}">
                <a16:creationId xmlns:a16="http://schemas.microsoft.com/office/drawing/2014/main" id="{EA8E2405-CE2A-4013-9480-6C043831D1E2}"/>
              </a:ext>
            </a:extLst>
          </p:cNvPr>
          <p:cNvSpPr>
            <a:spLocks noEditPoints="1"/>
          </p:cNvSpPr>
          <p:nvPr/>
        </p:nvSpPr>
        <p:spPr bwMode="auto">
          <a:xfrm>
            <a:off x="6405430" y="5076445"/>
            <a:ext cx="901043" cy="734183"/>
          </a:xfrm>
          <a:custGeom>
            <a:avLst/>
            <a:gdLst>
              <a:gd name="T0" fmla="*/ 335 w 335"/>
              <a:gd name="T1" fmla="*/ 264 h 272"/>
              <a:gd name="T2" fmla="*/ 335 w 335"/>
              <a:gd name="T3" fmla="*/ 264 h 272"/>
              <a:gd name="T4" fmla="*/ 335 w 335"/>
              <a:gd name="T5" fmla="*/ 264 h 272"/>
              <a:gd name="T6" fmla="*/ 0 w 335"/>
              <a:gd name="T7" fmla="*/ 0 h 272"/>
              <a:gd name="T8" fmla="*/ 0 w 335"/>
              <a:gd name="T9" fmla="*/ 0 h 272"/>
              <a:gd name="T10" fmla="*/ 272 w 335"/>
              <a:gd name="T11" fmla="*/ 272 h 272"/>
              <a:gd name="T12" fmla="*/ 335 w 335"/>
              <a:gd name="T13" fmla="*/ 264 h 272"/>
              <a:gd name="T14" fmla="*/ 272 w 335"/>
              <a:gd name="T15" fmla="*/ 272 h 272"/>
              <a:gd name="T16" fmla="*/ 0 w 335"/>
              <a:gd name="T1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5" h="272">
                <a:moveTo>
                  <a:pt x="335" y="264"/>
                </a:moveTo>
                <a:cubicBezTo>
                  <a:pt x="335" y="264"/>
                  <a:pt x="335" y="264"/>
                  <a:pt x="335" y="264"/>
                </a:cubicBezTo>
                <a:cubicBezTo>
                  <a:pt x="335" y="264"/>
                  <a:pt x="335" y="264"/>
                  <a:pt x="335" y="264"/>
                </a:cubicBezTo>
                <a:moveTo>
                  <a:pt x="0" y="0"/>
                </a:moveTo>
                <a:cubicBezTo>
                  <a:pt x="0" y="0"/>
                  <a:pt x="0" y="0"/>
                  <a:pt x="0" y="0"/>
                </a:cubicBezTo>
                <a:cubicBezTo>
                  <a:pt x="0" y="150"/>
                  <a:pt x="122" y="272"/>
                  <a:pt x="272" y="272"/>
                </a:cubicBezTo>
                <a:cubicBezTo>
                  <a:pt x="294" y="272"/>
                  <a:pt x="315" y="269"/>
                  <a:pt x="335" y="264"/>
                </a:cubicBezTo>
                <a:cubicBezTo>
                  <a:pt x="315" y="269"/>
                  <a:pt x="294" y="272"/>
                  <a:pt x="272" y="272"/>
                </a:cubicBezTo>
                <a:cubicBezTo>
                  <a:pt x="122" y="272"/>
                  <a:pt x="0" y="150"/>
                  <a:pt x="0" y="0"/>
                </a:cubicBezTo>
              </a:path>
            </a:pathLst>
          </a:custGeom>
          <a:solidFill>
            <a:srgbClr val="494A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8">
            <a:extLst>
              <a:ext uri="{FF2B5EF4-FFF2-40B4-BE49-F238E27FC236}">
                <a16:creationId xmlns:a16="http://schemas.microsoft.com/office/drawing/2014/main" id="{0E1F120B-FA06-496B-865B-0EFD4C554240}"/>
              </a:ext>
            </a:extLst>
          </p:cNvPr>
          <p:cNvSpPr>
            <a:spLocks/>
          </p:cNvSpPr>
          <p:nvPr/>
        </p:nvSpPr>
        <p:spPr bwMode="auto">
          <a:xfrm>
            <a:off x="9461532" y="4581000"/>
            <a:ext cx="865104" cy="1229628"/>
          </a:xfrm>
          <a:custGeom>
            <a:avLst/>
            <a:gdLst>
              <a:gd name="T0" fmla="*/ 71 w 322"/>
              <a:gd name="T1" fmla="*/ 0 h 456"/>
              <a:gd name="T2" fmla="*/ 0 w 322"/>
              <a:gd name="T3" fmla="*/ 184 h 456"/>
              <a:gd name="T4" fmla="*/ 271 w 322"/>
              <a:gd name="T5" fmla="*/ 456 h 456"/>
              <a:gd name="T6" fmla="*/ 322 w 322"/>
              <a:gd name="T7" fmla="*/ 451 h 456"/>
              <a:gd name="T8" fmla="*/ 271 w 322"/>
              <a:gd name="T9" fmla="*/ 456 h 456"/>
              <a:gd name="T10" fmla="*/ 0 w 322"/>
              <a:gd name="T11" fmla="*/ 184 h 456"/>
              <a:gd name="T12" fmla="*/ 71 w 322"/>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22" h="456">
                <a:moveTo>
                  <a:pt x="71" y="0"/>
                </a:moveTo>
                <a:cubicBezTo>
                  <a:pt x="27" y="49"/>
                  <a:pt x="0" y="113"/>
                  <a:pt x="0" y="184"/>
                </a:cubicBezTo>
                <a:cubicBezTo>
                  <a:pt x="0" y="334"/>
                  <a:pt x="121" y="456"/>
                  <a:pt x="271" y="456"/>
                </a:cubicBezTo>
                <a:cubicBezTo>
                  <a:pt x="289" y="456"/>
                  <a:pt x="306" y="454"/>
                  <a:pt x="322" y="451"/>
                </a:cubicBezTo>
                <a:cubicBezTo>
                  <a:pt x="306" y="454"/>
                  <a:pt x="289" y="456"/>
                  <a:pt x="271" y="456"/>
                </a:cubicBezTo>
                <a:cubicBezTo>
                  <a:pt x="121" y="456"/>
                  <a:pt x="0" y="334"/>
                  <a:pt x="0" y="184"/>
                </a:cubicBezTo>
                <a:cubicBezTo>
                  <a:pt x="0" y="113"/>
                  <a:pt x="27" y="49"/>
                  <a:pt x="71" y="0"/>
                </a:cubicBezTo>
              </a:path>
            </a:pathLst>
          </a:custGeom>
          <a:solidFill>
            <a:srgbClr val="494A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cxnSp>
        <p:nvCxnSpPr>
          <p:cNvPr id="18" name="Connecteur droit 17">
            <a:extLst>
              <a:ext uri="{FF2B5EF4-FFF2-40B4-BE49-F238E27FC236}">
                <a16:creationId xmlns:a16="http://schemas.microsoft.com/office/drawing/2014/main" id="{078D693D-8BA7-4582-8A59-C37E91D2D06F}"/>
              </a:ext>
            </a:extLst>
          </p:cNvPr>
          <p:cNvCxnSpPr>
            <a:cxnSpLocks/>
          </p:cNvCxnSpPr>
          <p:nvPr/>
        </p:nvCxnSpPr>
        <p:spPr>
          <a:xfrm flipH="1">
            <a:off x="971550" y="2225099"/>
            <a:ext cx="153035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0289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300"/>
                                        <p:tgtEl>
                                          <p:spTgt spid="18"/>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629" name="Diapositive think-cell" r:id="rId6" imgW="501" imgH="501" progId="TCLayout.ActiveDocument.1">
                  <p:embed/>
                </p:oleObj>
              </mc:Choice>
              <mc:Fallback>
                <p:oleObj name="Diapositive think-cell" r:id="rId6" imgW="501" imgH="501" progId="TCLayout.ActiveDocument.1">
                  <p:embed/>
                  <p:pic>
                    <p:nvPicPr>
                      <p:cNvPr id="3" name="Obje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sym typeface="Montserrat" panose="00000500000000000000" pitchFamily="2" charset="0"/>
            </a:endParaRPr>
          </a:p>
        </p:txBody>
      </p:sp>
      <p:sp>
        <p:nvSpPr>
          <p:cNvPr id="8" name="Titre 5">
            <a:extLst>
              <a:ext uri="{FF2B5EF4-FFF2-40B4-BE49-F238E27FC236}">
                <a16:creationId xmlns:a16="http://schemas.microsoft.com/office/drawing/2014/main" id="{8AE33944-45A3-415C-9EBA-293C9717DF33}"/>
              </a:ext>
            </a:extLst>
          </p:cNvPr>
          <p:cNvSpPr txBox="1">
            <a:spLocks/>
          </p:cNvSpPr>
          <p:nvPr/>
        </p:nvSpPr>
        <p:spPr>
          <a:xfrm>
            <a:off x="874713" y="420074"/>
            <a:ext cx="10222773" cy="693074"/>
          </a:xfrm>
          <a:prstGeom prst="rect">
            <a:avLst/>
          </a:prstGeom>
        </p:spPr>
        <p:txBody>
          <a:bodyPr vert="horz" lIns="0" tIns="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lvl="0">
              <a:defRPr/>
            </a:pPr>
            <a:r>
              <a:rPr lang="en-GB" dirty="0"/>
              <a:t>What’s in scope?</a:t>
            </a:r>
          </a:p>
        </p:txBody>
      </p:sp>
      <p:graphicFrame>
        <p:nvGraphicFramePr>
          <p:cNvPr id="24" name="Diagram 23">
            <a:extLst>
              <a:ext uri="{FF2B5EF4-FFF2-40B4-BE49-F238E27FC236}">
                <a16:creationId xmlns:a16="http://schemas.microsoft.com/office/drawing/2014/main" id="{26B9B8B6-0FE0-4C20-AFE3-B176D47EDF1E}"/>
              </a:ext>
            </a:extLst>
          </p:cNvPr>
          <p:cNvGraphicFramePr/>
          <p:nvPr>
            <p:extLst>
              <p:ext uri="{D42A27DB-BD31-4B8C-83A1-F6EECF244321}">
                <p14:modId xmlns:p14="http://schemas.microsoft.com/office/powerpoint/2010/main" val="4032859384"/>
              </p:ext>
            </p:extLst>
          </p:nvPr>
        </p:nvGraphicFramePr>
        <p:xfrm>
          <a:off x="1111827" y="833137"/>
          <a:ext cx="10205460" cy="509408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6" name="Rectangle 25">
            <a:extLst>
              <a:ext uri="{FF2B5EF4-FFF2-40B4-BE49-F238E27FC236}">
                <a16:creationId xmlns:a16="http://schemas.microsoft.com/office/drawing/2014/main" id="{FC1A0BDE-CB8F-4003-824F-7448CCB14560}"/>
              </a:ext>
            </a:extLst>
          </p:cNvPr>
          <p:cNvSpPr/>
          <p:nvPr/>
        </p:nvSpPr>
        <p:spPr>
          <a:xfrm>
            <a:off x="874713" y="1184561"/>
            <a:ext cx="10679978" cy="4840302"/>
          </a:xfrm>
          <a:prstGeom prst="rect">
            <a:avLst/>
          </a:prstGeom>
          <a:noFill/>
          <a:ln w="38100" cap="flat" cmpd="sng" algn="ctr">
            <a:solidFill>
              <a:srgbClr val="F9D95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47A3A170-DD05-4528-9B27-127055059145}"/>
              </a:ext>
            </a:extLst>
          </p:cNvPr>
          <p:cNvSpPr txBox="1"/>
          <p:nvPr/>
        </p:nvSpPr>
        <p:spPr>
          <a:xfrm>
            <a:off x="1174966" y="5443734"/>
            <a:ext cx="10079182" cy="307777"/>
          </a:xfrm>
          <a:prstGeom prst="rect">
            <a:avLst/>
          </a:prstGeom>
          <a:noFill/>
        </p:spPr>
        <p:txBody>
          <a:bodyPr wrap="square" rtlCol="0" anchor="t">
            <a:spAutoFit/>
          </a:bodyPr>
          <a:lstStyle/>
          <a:p>
            <a:pPr algn="ctr"/>
            <a:r>
              <a:rPr lang="en-GB" sz="1400" dirty="0">
                <a:solidFill>
                  <a:srgbClr val="573EEF"/>
                </a:solidFill>
                <a:latin typeface="Montserrat"/>
              </a:rPr>
              <a:t>+ any other </a:t>
            </a:r>
            <a:r>
              <a:rPr lang="en-GB" sz="1400" b="1" u="sng" dirty="0">
                <a:solidFill>
                  <a:srgbClr val="573EEF"/>
                </a:solidFill>
                <a:latin typeface="Montserrat"/>
              </a:rPr>
              <a:t>delivered</a:t>
            </a:r>
            <a:r>
              <a:rPr lang="en-GB" sz="1400" dirty="0">
                <a:solidFill>
                  <a:srgbClr val="573EEF"/>
                </a:solidFill>
                <a:latin typeface="Montserrat"/>
              </a:rPr>
              <a:t> services + tech delivery + warranty + collection + GDPR data wiping + recycling etc.</a:t>
            </a:r>
          </a:p>
        </p:txBody>
      </p:sp>
      <p:sp>
        <p:nvSpPr>
          <p:cNvPr id="30" name="Rectangle 29">
            <a:extLst>
              <a:ext uri="{FF2B5EF4-FFF2-40B4-BE49-F238E27FC236}">
                <a16:creationId xmlns:a16="http://schemas.microsoft.com/office/drawing/2014/main" id="{2556905E-F747-4131-9214-535CC25E8440}"/>
              </a:ext>
            </a:extLst>
          </p:cNvPr>
          <p:cNvSpPr/>
          <p:nvPr/>
        </p:nvSpPr>
        <p:spPr>
          <a:xfrm>
            <a:off x="5062516" y="5927223"/>
            <a:ext cx="1847166" cy="338106"/>
          </a:xfrm>
          <a:prstGeom prst="rect">
            <a:avLst/>
          </a:prstGeom>
          <a:solidFill>
            <a:srgbClr val="F9D95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prstClr val="white"/>
                </a:solidFill>
                <a:effectLst/>
                <a:uLnTx/>
                <a:uFillTx/>
                <a:latin typeface="Montserrat" panose="00000500000000000000" pitchFamily="2" charset="0"/>
                <a:ea typeface="+mn-ea"/>
                <a:cs typeface="+mn-cs"/>
              </a:rPr>
              <a:t>As-a-service</a:t>
            </a:r>
          </a:p>
        </p:txBody>
      </p:sp>
      <p:sp>
        <p:nvSpPr>
          <p:cNvPr id="9" name="Espace réservé du numéro de diapositive 4">
            <a:extLst>
              <a:ext uri="{FF2B5EF4-FFF2-40B4-BE49-F238E27FC236}">
                <a16:creationId xmlns:a16="http://schemas.microsoft.com/office/drawing/2014/main" id="{7F2B3D8B-E7EF-418E-BB24-0A0C9C43C307}"/>
              </a:ext>
            </a:extLst>
          </p:cNvPr>
          <p:cNvSpPr>
            <a:spLocks noGrp="1"/>
          </p:cNvSpPr>
          <p:nvPr>
            <p:ph type="sldNum" sz="quarter" idx="12"/>
          </p:nvPr>
        </p:nvSpPr>
        <p:spPr>
          <a:xfrm>
            <a:off x="11620500" y="6426200"/>
            <a:ext cx="350520" cy="24384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C5DC16-0D22-4C7F-9249-BF4D2D91D79F}" type="slidenum">
              <a:rPr kumimoji="0" lang="en-US" sz="1050" b="0" i="0" u="none" strike="noStrike" kern="1200" cap="none" spc="0" normalizeH="0" baseline="0" noProof="0" smtClean="0">
                <a:ln>
                  <a:noFill/>
                </a:ln>
                <a:solidFill>
                  <a:prstClr val="white">
                    <a:lumMod val="50000"/>
                  </a:prstClr>
                </a:solidFill>
                <a:effectLst/>
                <a:uLnTx/>
                <a:uFillTx/>
                <a:latin typeface="Montserrat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50" b="0" i="0" u="none" strike="noStrike" kern="1200" cap="none" spc="0" normalizeH="0" baseline="0" noProof="0" dirty="0">
              <a:ln>
                <a:noFill/>
              </a:ln>
              <a:solidFill>
                <a:prstClr val="white">
                  <a:lumMod val="50000"/>
                </a:prstClr>
              </a:solidFill>
              <a:effectLst/>
              <a:uLnTx/>
              <a:uFillTx/>
              <a:latin typeface="Montserrat SemiBold"/>
              <a:ea typeface="+mn-ea"/>
              <a:cs typeface="+mn-cs"/>
            </a:endParaRPr>
          </a:p>
        </p:txBody>
      </p:sp>
    </p:spTree>
    <p:extLst>
      <p:ext uri="{BB962C8B-B14F-4D97-AF65-F5344CB8AC3E}">
        <p14:creationId xmlns:p14="http://schemas.microsoft.com/office/powerpoint/2010/main" val="38830206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99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t82sfvYTAyZGBkb0XKtKQ"/>
</p:tagLst>
</file>

<file path=ppt/theme/theme1.xml><?xml version="1.0" encoding="utf-8"?>
<a:theme xmlns:a="http://schemas.openxmlformats.org/drawingml/2006/main" name="Conception personnalisée">
  <a:themeElements>
    <a:clrScheme name="econocom">
      <a:dk1>
        <a:srgbClr val="33008E"/>
      </a:dk1>
      <a:lt1>
        <a:sysClr val="window" lastClr="FFFFFF"/>
      </a:lt1>
      <a:dk2>
        <a:srgbClr val="573EEF"/>
      </a:dk2>
      <a:lt2>
        <a:srgbClr val="3E0D81"/>
      </a:lt2>
      <a:accent1>
        <a:srgbClr val="8727DB"/>
      </a:accent1>
      <a:accent2>
        <a:srgbClr val="99E5E8"/>
      </a:accent2>
      <a:accent3>
        <a:srgbClr val="A954F3"/>
      </a:accent3>
      <a:accent4>
        <a:srgbClr val="CDB8FA"/>
      </a:accent4>
      <a:accent5>
        <a:srgbClr val="FF997F"/>
      </a:accent5>
      <a:accent6>
        <a:srgbClr val="F9D957"/>
      </a:accent6>
      <a:hlink>
        <a:srgbClr val="0563C1"/>
      </a:hlink>
      <a:folHlink>
        <a:srgbClr val="954F72"/>
      </a:folHlink>
    </a:clrScheme>
    <a:fontScheme name="econocom">
      <a:majorFont>
        <a:latin typeface="Montserrat"/>
        <a:ea typeface=""/>
        <a:cs typeface=""/>
      </a:majorFont>
      <a:minorFont>
        <a:latin typeface="Montserrat SemiBol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CONOCOM FR">
  <a:themeElements>
    <a:clrScheme name="ECO_NEW_CHART_PPT_2018_2019">
      <a:dk1>
        <a:srgbClr val="573EEF"/>
      </a:dk1>
      <a:lt1>
        <a:sysClr val="window" lastClr="FFFFFF"/>
      </a:lt1>
      <a:dk2>
        <a:srgbClr val="3E0D81"/>
      </a:dk2>
      <a:lt2>
        <a:srgbClr val="E7E6E6"/>
      </a:lt2>
      <a:accent1>
        <a:srgbClr val="573EEF"/>
      </a:accent1>
      <a:accent2>
        <a:srgbClr val="3E0D81"/>
      </a:accent2>
      <a:accent3>
        <a:srgbClr val="8727DB"/>
      </a:accent3>
      <a:accent4>
        <a:srgbClr val="F9D957"/>
      </a:accent4>
      <a:accent5>
        <a:srgbClr val="FF997F"/>
      </a:accent5>
      <a:accent6>
        <a:srgbClr val="CDB8FA"/>
      </a:accent6>
      <a:hlink>
        <a:srgbClr val="A954F3"/>
      </a:hlink>
      <a:folHlink>
        <a:srgbClr val="99E5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b" anchorCtr="0">
        <a:spAutoFit/>
      </a:bodyPr>
      <a:lstStyle>
        <a:defPPr algn="l">
          <a:defRPr dirty="0"/>
        </a:defPPr>
      </a:lstStyle>
    </a:txDef>
  </a:objectDefaults>
  <a:extraClrSchemeLst/>
  <a:extLst>
    <a:ext uri="{05A4C25C-085E-4340-85A3-A5531E510DB2}">
      <thm15:themeFamily xmlns:thm15="http://schemas.microsoft.com/office/thememl/2012/main" name="Template_FR_econocom_v06" id="{6BD2BC2D-D4CC-4EDD-9665-8838CA53E5F5}" vid="{7A5F3061-9967-4EAE-A0B1-2FAC750A2865}"/>
    </a:ext>
  </a:extLst>
</a:theme>
</file>

<file path=ppt/theme/theme3.xml><?xml version="1.0" encoding="utf-8"?>
<a:theme xmlns:a="http://schemas.openxmlformats.org/drawingml/2006/main" name="ECONOCOM UK">
  <a:themeElements>
    <a:clrScheme name="ECONOCOM - Colors">
      <a:dk1>
        <a:srgbClr val="573EEF"/>
      </a:dk1>
      <a:lt1>
        <a:sysClr val="window" lastClr="FFFFFF"/>
      </a:lt1>
      <a:dk2>
        <a:srgbClr val="3E0D81"/>
      </a:dk2>
      <a:lt2>
        <a:srgbClr val="E7E6E6"/>
      </a:lt2>
      <a:accent1>
        <a:srgbClr val="573EEF"/>
      </a:accent1>
      <a:accent2>
        <a:srgbClr val="3E0D81"/>
      </a:accent2>
      <a:accent3>
        <a:srgbClr val="8727DB"/>
      </a:accent3>
      <a:accent4>
        <a:srgbClr val="F9D957"/>
      </a:accent4>
      <a:accent5>
        <a:srgbClr val="FF997F"/>
      </a:accent5>
      <a:accent6>
        <a:srgbClr val="CDB8FA"/>
      </a:accent6>
      <a:hlink>
        <a:srgbClr val="A954F3"/>
      </a:hlink>
      <a:folHlink>
        <a:srgbClr val="99E5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UK_econocom_v06" id="{3CFD2F78-0B62-4D83-8B93-692289B7E89A}" vid="{831D6607-9305-4D8C-965D-4CDB6775C742}"/>
    </a:ext>
  </a:extLst>
</a:theme>
</file>

<file path=ppt/theme/theme4.xml><?xml version="1.0" encoding="utf-8"?>
<a:theme xmlns:a="http://schemas.openxmlformats.org/drawingml/2006/main" name="27_Personalizza struttur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1_Personalizza struttur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ECONOCOM FR">
  <a:themeElements>
    <a:clrScheme name="ECO_NEW_CHART_PPT_2018_2019">
      <a:dk1>
        <a:srgbClr val="573EEF"/>
      </a:dk1>
      <a:lt1>
        <a:sysClr val="window" lastClr="FFFFFF"/>
      </a:lt1>
      <a:dk2>
        <a:srgbClr val="3E0D81"/>
      </a:dk2>
      <a:lt2>
        <a:srgbClr val="E7E6E6"/>
      </a:lt2>
      <a:accent1>
        <a:srgbClr val="573EEF"/>
      </a:accent1>
      <a:accent2>
        <a:srgbClr val="3E0D81"/>
      </a:accent2>
      <a:accent3>
        <a:srgbClr val="8727DB"/>
      </a:accent3>
      <a:accent4>
        <a:srgbClr val="F9D957"/>
      </a:accent4>
      <a:accent5>
        <a:srgbClr val="FF997F"/>
      </a:accent5>
      <a:accent6>
        <a:srgbClr val="CDB8FA"/>
      </a:accent6>
      <a:hlink>
        <a:srgbClr val="A954F3"/>
      </a:hlink>
      <a:folHlink>
        <a:srgbClr val="99E5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b" anchorCtr="0">
        <a:spAutoFit/>
      </a:bodyPr>
      <a:lstStyle>
        <a:defPPr algn="l">
          <a:defRPr dirty="0"/>
        </a:defPPr>
      </a:lstStyle>
    </a:txDef>
  </a:objectDefaults>
  <a:extraClrSchemeLst/>
  <a:extLst>
    <a:ext uri="{05A4C25C-085E-4340-85A3-A5531E510DB2}">
      <thm15:themeFamily xmlns:thm15="http://schemas.microsoft.com/office/thememl/2012/main" name="Template_FR_econocom_v06" id="{6BD2BC2D-D4CC-4EDD-9665-8838CA53E5F5}" vid="{7A5F3061-9967-4EAE-A0B1-2FAC750A2865}"/>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E6C32D550B88D45B72B577BD26253E8" ma:contentTypeVersion="7" ma:contentTypeDescription="Create a new document." ma:contentTypeScope="" ma:versionID="632b99bbe1fa3d3b9fd8760c10e5440f">
  <xsd:schema xmlns:xsd="http://www.w3.org/2001/XMLSchema" xmlns:xs="http://www.w3.org/2001/XMLSchema" xmlns:p="http://schemas.microsoft.com/office/2006/metadata/properties" xmlns:ns2="b9b39d2e-feae-4d6d-8fb3-d5f91e11a580" targetNamespace="http://schemas.microsoft.com/office/2006/metadata/properties" ma:root="true" ma:fieldsID="5b96ac00e4204a7f897f95abfb37295b" ns2:_="">
    <xsd:import namespace="b9b39d2e-feae-4d6d-8fb3-d5f91e11a58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b39d2e-feae-4d6d-8fb3-d5f91e11a58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03BE00-CF49-448D-8642-FA724E50249A}">
  <ds:schemaRefs>
    <ds:schemaRef ds:uri="http://schemas.microsoft.com/sharepoint/v3/contenttype/forms"/>
  </ds:schemaRefs>
</ds:datastoreItem>
</file>

<file path=customXml/itemProps2.xml><?xml version="1.0" encoding="utf-8"?>
<ds:datastoreItem xmlns:ds="http://schemas.openxmlformats.org/officeDocument/2006/customXml" ds:itemID="{23BE8161-1E08-4627-85DF-B8C1D9AD7C64}">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c7da53e0-4411-4270-963d-3cba8603e9e6"/>
    <ds:schemaRef ds:uri="http://www.w3.org/XML/1998/namespace"/>
    <ds:schemaRef ds:uri="http://purl.org/dc/dcmitype/"/>
  </ds:schemaRefs>
</ds:datastoreItem>
</file>

<file path=customXml/itemProps3.xml><?xml version="1.0" encoding="utf-8"?>
<ds:datastoreItem xmlns:ds="http://schemas.openxmlformats.org/officeDocument/2006/customXml" ds:itemID="{86DD74E6-A902-4D9A-AFA3-45D6FBF99E15}"/>
</file>

<file path=docProps/app.xml><?xml version="1.0" encoding="utf-8"?>
<Properties xmlns="http://schemas.openxmlformats.org/officeDocument/2006/extended-properties" xmlns:vt="http://schemas.openxmlformats.org/officeDocument/2006/docPropsVTypes">
  <Template/>
  <TotalTime>0</TotalTime>
  <Words>580</Words>
  <Application>Microsoft Office PowerPoint</Application>
  <PresentationFormat>Widescreen</PresentationFormat>
  <Paragraphs>161</Paragraphs>
  <Slides>15</Slides>
  <Notes>13</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2</vt:i4>
      </vt:variant>
      <vt:variant>
        <vt:lpstr>Slide Titles</vt:lpstr>
      </vt:variant>
      <vt:variant>
        <vt:i4>15</vt:i4>
      </vt:variant>
    </vt:vector>
  </HeadingPairs>
  <TitlesOfParts>
    <vt:vector size="30" baseType="lpstr">
      <vt:lpstr>Times New Roman</vt:lpstr>
      <vt:lpstr>Montserrat Black</vt:lpstr>
      <vt:lpstr>Calibri</vt:lpstr>
      <vt:lpstr>Montserrat</vt:lpstr>
      <vt:lpstr>Montserrat SemiBold</vt:lpstr>
      <vt:lpstr>Arial</vt:lpstr>
      <vt:lpstr>Montserrat ExtraBold</vt:lpstr>
      <vt:lpstr>Conception personnalisée</vt:lpstr>
      <vt:lpstr>ECONOCOM FR</vt:lpstr>
      <vt:lpstr>ECONOCOM UK</vt:lpstr>
      <vt:lpstr>27_Personalizza struttura</vt:lpstr>
      <vt:lpstr>21_Personalizza struttura</vt:lpstr>
      <vt:lpstr>1_ECONOCOM FR</vt:lpstr>
      <vt:lpstr>Diapositive think-cell</vt:lpstr>
      <vt:lpstr>Slide</vt:lpstr>
      <vt:lpstr>PowerPoint Presentation</vt:lpstr>
      <vt:lpstr>PowerPoint Presentation</vt:lpstr>
      <vt:lpstr>PowerPoint Presentation</vt:lpstr>
      <vt:lpstr>Key figur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La boite à slides Prod</dc:creator>
  <cp:lastModifiedBy>LONGIN, Noemie</cp:lastModifiedBy>
  <cp:revision>2414</cp:revision>
  <cp:lastPrinted>2020-03-11T13:30:26Z</cp:lastPrinted>
  <dcterms:created xsi:type="dcterms:W3CDTF">2017-02-03T08:43:54Z</dcterms:created>
  <dcterms:modified xsi:type="dcterms:W3CDTF">2021-08-17T09:5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6C32D550B88D45B72B577BD26253E8</vt:lpwstr>
  </property>
</Properties>
</file>